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
  </p:notesMasterIdLst>
  <p:sldIdLst>
    <p:sldId id="262" r:id="rId2"/>
    <p:sldId id="261" r:id="rId3"/>
    <p:sldId id="258" r:id="rId4"/>
    <p:sldId id="264" r:id="rId5"/>
    <p:sldId id="257" r:id="rId6"/>
    <p:sldId id="263"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3" d="100"/>
          <a:sy n="63" d="100"/>
        </p:scale>
        <p:origin x="8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A82A62-A0B1-4EB1-AABE-D21D1E936746}" type="datetimeFigureOut">
              <a:rPr lang="en-US" smtClean="0"/>
              <a:t>2/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ADBF87-B9A5-4878-B71C-4A3277008F27}" type="slidenum">
              <a:rPr lang="en-US" smtClean="0"/>
              <a:t>‹#›</a:t>
            </a:fld>
            <a:endParaRPr lang="en-US"/>
          </a:p>
        </p:txBody>
      </p:sp>
    </p:spTree>
    <p:extLst>
      <p:ext uri="{BB962C8B-B14F-4D97-AF65-F5344CB8AC3E}">
        <p14:creationId xmlns:p14="http://schemas.microsoft.com/office/powerpoint/2010/main" val="23368652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19274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17660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2B5818-096D-4BEB-B480-B5AC142C02F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97689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58044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D2AC4-E4BE-C6B8-D96F-E2BF58AAE0F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32D384F-BD35-5DF7-46F1-4328F3DEA32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A84C8DF-8586-6267-DFFB-8E3CF057DAB6}"/>
              </a:ext>
            </a:extLst>
          </p:cNvPr>
          <p:cNvSpPr>
            <a:spLocks noGrp="1"/>
          </p:cNvSpPr>
          <p:nvPr>
            <p:ph type="dt" sz="half" idx="10"/>
          </p:nvPr>
        </p:nvSpPr>
        <p:spPr/>
        <p:txBody>
          <a:bodyPr/>
          <a:lstStyle/>
          <a:p>
            <a:fld id="{07A90FDE-9235-4AAA-A963-A5DE85CD7AD6}" type="datetimeFigureOut">
              <a:rPr lang="en-US" smtClean="0"/>
              <a:t>2/1/2024</a:t>
            </a:fld>
            <a:endParaRPr lang="en-US"/>
          </a:p>
        </p:txBody>
      </p:sp>
      <p:sp>
        <p:nvSpPr>
          <p:cNvPr id="5" name="Footer Placeholder 4">
            <a:extLst>
              <a:ext uri="{FF2B5EF4-FFF2-40B4-BE49-F238E27FC236}">
                <a16:creationId xmlns:a16="http://schemas.microsoft.com/office/drawing/2014/main" id="{DCA39097-9908-1CDD-E6FD-B2481532CB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27ABF8-ECEE-8375-229C-CC584D5B68E8}"/>
              </a:ext>
            </a:extLst>
          </p:cNvPr>
          <p:cNvSpPr>
            <a:spLocks noGrp="1"/>
          </p:cNvSpPr>
          <p:nvPr>
            <p:ph type="sldNum" sz="quarter" idx="12"/>
          </p:nvPr>
        </p:nvSpPr>
        <p:spPr/>
        <p:txBody>
          <a:bodyPr/>
          <a:lstStyle/>
          <a:p>
            <a:fld id="{8F3F5554-3204-4189-AEC2-EDFD4F2C1FB6}" type="slidenum">
              <a:rPr lang="en-US" smtClean="0"/>
              <a:t>‹#›</a:t>
            </a:fld>
            <a:endParaRPr lang="en-US"/>
          </a:p>
        </p:txBody>
      </p:sp>
    </p:spTree>
    <p:extLst>
      <p:ext uri="{BB962C8B-B14F-4D97-AF65-F5344CB8AC3E}">
        <p14:creationId xmlns:p14="http://schemas.microsoft.com/office/powerpoint/2010/main" val="13214945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0ACAC1-75EE-00F8-BE6D-FC856E7C2AD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5131552-7E37-939E-46C4-CFB14178074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A702F45-FB05-93D0-AEBA-4A8E9B6D573D}"/>
              </a:ext>
            </a:extLst>
          </p:cNvPr>
          <p:cNvSpPr>
            <a:spLocks noGrp="1"/>
          </p:cNvSpPr>
          <p:nvPr>
            <p:ph type="dt" sz="half" idx="10"/>
          </p:nvPr>
        </p:nvSpPr>
        <p:spPr/>
        <p:txBody>
          <a:bodyPr/>
          <a:lstStyle/>
          <a:p>
            <a:fld id="{07A90FDE-9235-4AAA-A963-A5DE85CD7AD6}" type="datetimeFigureOut">
              <a:rPr lang="en-US" smtClean="0"/>
              <a:t>2/1/2024</a:t>
            </a:fld>
            <a:endParaRPr lang="en-US"/>
          </a:p>
        </p:txBody>
      </p:sp>
      <p:sp>
        <p:nvSpPr>
          <p:cNvPr id="5" name="Footer Placeholder 4">
            <a:extLst>
              <a:ext uri="{FF2B5EF4-FFF2-40B4-BE49-F238E27FC236}">
                <a16:creationId xmlns:a16="http://schemas.microsoft.com/office/drawing/2014/main" id="{9DA9F976-99AB-6754-0E20-67C438009B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807F97-0BBD-B9C5-5E7C-EFAF5B4F0658}"/>
              </a:ext>
            </a:extLst>
          </p:cNvPr>
          <p:cNvSpPr>
            <a:spLocks noGrp="1"/>
          </p:cNvSpPr>
          <p:nvPr>
            <p:ph type="sldNum" sz="quarter" idx="12"/>
          </p:nvPr>
        </p:nvSpPr>
        <p:spPr/>
        <p:txBody>
          <a:bodyPr/>
          <a:lstStyle/>
          <a:p>
            <a:fld id="{8F3F5554-3204-4189-AEC2-EDFD4F2C1FB6}" type="slidenum">
              <a:rPr lang="en-US" smtClean="0"/>
              <a:t>‹#›</a:t>
            </a:fld>
            <a:endParaRPr lang="en-US"/>
          </a:p>
        </p:txBody>
      </p:sp>
    </p:spTree>
    <p:extLst>
      <p:ext uri="{BB962C8B-B14F-4D97-AF65-F5344CB8AC3E}">
        <p14:creationId xmlns:p14="http://schemas.microsoft.com/office/powerpoint/2010/main" val="22566015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22F6DF6-1EEA-6593-424F-9F199DF47E7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0D3BF1D-20F5-38D4-D7ED-F2742F35679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A2A2A9-75C1-E287-7197-E649A0732409}"/>
              </a:ext>
            </a:extLst>
          </p:cNvPr>
          <p:cNvSpPr>
            <a:spLocks noGrp="1"/>
          </p:cNvSpPr>
          <p:nvPr>
            <p:ph type="dt" sz="half" idx="10"/>
          </p:nvPr>
        </p:nvSpPr>
        <p:spPr/>
        <p:txBody>
          <a:bodyPr/>
          <a:lstStyle/>
          <a:p>
            <a:fld id="{07A90FDE-9235-4AAA-A963-A5DE85CD7AD6}" type="datetimeFigureOut">
              <a:rPr lang="en-US" smtClean="0"/>
              <a:t>2/1/2024</a:t>
            </a:fld>
            <a:endParaRPr lang="en-US"/>
          </a:p>
        </p:txBody>
      </p:sp>
      <p:sp>
        <p:nvSpPr>
          <p:cNvPr id="5" name="Footer Placeholder 4">
            <a:extLst>
              <a:ext uri="{FF2B5EF4-FFF2-40B4-BE49-F238E27FC236}">
                <a16:creationId xmlns:a16="http://schemas.microsoft.com/office/drawing/2014/main" id="{27C8328D-5D0D-80E3-A553-2FD241E8F1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0374F1-2B7F-33AB-19D1-EFF16B93AAE8}"/>
              </a:ext>
            </a:extLst>
          </p:cNvPr>
          <p:cNvSpPr>
            <a:spLocks noGrp="1"/>
          </p:cNvSpPr>
          <p:nvPr>
            <p:ph type="sldNum" sz="quarter" idx="12"/>
          </p:nvPr>
        </p:nvSpPr>
        <p:spPr/>
        <p:txBody>
          <a:bodyPr/>
          <a:lstStyle/>
          <a:p>
            <a:fld id="{8F3F5554-3204-4189-AEC2-EDFD4F2C1FB6}" type="slidenum">
              <a:rPr lang="en-US" smtClean="0"/>
              <a:t>‹#›</a:t>
            </a:fld>
            <a:endParaRPr lang="en-US"/>
          </a:p>
        </p:txBody>
      </p:sp>
    </p:spTree>
    <p:extLst>
      <p:ext uri="{BB962C8B-B14F-4D97-AF65-F5344CB8AC3E}">
        <p14:creationId xmlns:p14="http://schemas.microsoft.com/office/powerpoint/2010/main" val="27991453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IG Title slide" type="title">
  <p:cSld name="BIG Title slide">
    <p:bg>
      <p:bgPr>
        <a:solidFill>
          <a:schemeClr val="lt1"/>
        </a:solidFill>
        <a:effectLst/>
      </p:bgPr>
    </p:bg>
    <p:spTree>
      <p:nvGrpSpPr>
        <p:cNvPr id="1" name="Shape 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5799BC0-FF29-4955-5F2D-662A15146890}"/>
              </a:ext>
            </a:extLst>
          </p:cNvPr>
          <p:cNvGraphicFramePr>
            <a:graphicFrameLocks noChangeAspect="1"/>
          </p:cNvGraphicFramePr>
          <p:nvPr userDrawn="1">
            <p:custDataLst>
              <p:tags r:id="rId1"/>
            </p:custDataLst>
            <p:extLst>
              <p:ext uri="{D42A27DB-BD31-4B8C-83A1-F6EECF244321}">
                <p14:modId xmlns:p14="http://schemas.microsoft.com/office/powerpoint/2010/main" val="1510778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25799BC0-FF29-4955-5F2D-662A151468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Google Shape;10;p38"/>
          <p:cNvSpPr txBox="1">
            <a:spLocks noGrp="1"/>
          </p:cNvSpPr>
          <p:nvPr>
            <p:ph type="ctrTitle"/>
          </p:nvPr>
        </p:nvSpPr>
        <p:spPr>
          <a:xfrm>
            <a:off x="243440" y="336181"/>
            <a:ext cx="5901600" cy="1908000"/>
          </a:xfrm>
          <a:prstGeom prst="rect">
            <a:avLst/>
          </a:prstGeom>
          <a:noFill/>
          <a:ln>
            <a:noFill/>
          </a:ln>
        </p:spPr>
        <p:txBody>
          <a:bodyPr spcFirstLastPara="1" wrap="square" lIns="91425" tIns="91425" rIns="91425" bIns="91425" anchor="ctr" anchorCtr="0">
            <a:noAutofit/>
          </a:bodyPr>
          <a:lstStyle>
            <a:lvl1pPr lvl="0" algn="r" rtl="0">
              <a:lnSpc>
                <a:spcPct val="100000"/>
              </a:lnSpc>
              <a:spcBef>
                <a:spcPts val="0"/>
              </a:spcBef>
              <a:spcAft>
                <a:spcPts val="0"/>
              </a:spcAft>
              <a:buClr>
                <a:srgbClr val="FFFFFF"/>
              </a:buClr>
              <a:buSzPts val="3000"/>
              <a:buNone/>
              <a:defRPr sz="4000" b="1">
                <a:solidFill>
                  <a:srgbClr val="FFFFFF"/>
                </a:solidFill>
              </a:defRPr>
            </a:lvl1pPr>
            <a:lvl2pPr lvl="1" algn="r">
              <a:lnSpc>
                <a:spcPct val="100000"/>
              </a:lnSpc>
              <a:spcBef>
                <a:spcPts val="0"/>
              </a:spcBef>
              <a:spcAft>
                <a:spcPts val="0"/>
              </a:spcAft>
              <a:buClr>
                <a:srgbClr val="FFFFFF"/>
              </a:buClr>
              <a:buSzPts val="6000"/>
              <a:buNone/>
              <a:defRPr sz="8000">
                <a:solidFill>
                  <a:srgbClr val="FFFFFF"/>
                </a:solidFill>
              </a:defRPr>
            </a:lvl2pPr>
            <a:lvl3pPr lvl="2" algn="r">
              <a:lnSpc>
                <a:spcPct val="100000"/>
              </a:lnSpc>
              <a:spcBef>
                <a:spcPts val="0"/>
              </a:spcBef>
              <a:spcAft>
                <a:spcPts val="0"/>
              </a:spcAft>
              <a:buClr>
                <a:srgbClr val="FFFFFF"/>
              </a:buClr>
              <a:buSzPts val="6000"/>
              <a:buNone/>
              <a:defRPr sz="8000">
                <a:solidFill>
                  <a:srgbClr val="FFFFFF"/>
                </a:solidFill>
              </a:defRPr>
            </a:lvl3pPr>
            <a:lvl4pPr lvl="3" algn="r">
              <a:lnSpc>
                <a:spcPct val="100000"/>
              </a:lnSpc>
              <a:spcBef>
                <a:spcPts val="0"/>
              </a:spcBef>
              <a:spcAft>
                <a:spcPts val="0"/>
              </a:spcAft>
              <a:buClr>
                <a:srgbClr val="FFFFFF"/>
              </a:buClr>
              <a:buSzPts val="6000"/>
              <a:buNone/>
              <a:defRPr sz="8000">
                <a:solidFill>
                  <a:srgbClr val="FFFFFF"/>
                </a:solidFill>
              </a:defRPr>
            </a:lvl4pPr>
            <a:lvl5pPr lvl="4" algn="r">
              <a:lnSpc>
                <a:spcPct val="100000"/>
              </a:lnSpc>
              <a:spcBef>
                <a:spcPts val="0"/>
              </a:spcBef>
              <a:spcAft>
                <a:spcPts val="0"/>
              </a:spcAft>
              <a:buClr>
                <a:srgbClr val="FFFFFF"/>
              </a:buClr>
              <a:buSzPts val="6000"/>
              <a:buNone/>
              <a:defRPr sz="8000">
                <a:solidFill>
                  <a:srgbClr val="FFFFFF"/>
                </a:solidFill>
              </a:defRPr>
            </a:lvl5pPr>
            <a:lvl6pPr lvl="5" algn="r">
              <a:lnSpc>
                <a:spcPct val="100000"/>
              </a:lnSpc>
              <a:spcBef>
                <a:spcPts val="0"/>
              </a:spcBef>
              <a:spcAft>
                <a:spcPts val="0"/>
              </a:spcAft>
              <a:buClr>
                <a:srgbClr val="FFFFFF"/>
              </a:buClr>
              <a:buSzPts val="6000"/>
              <a:buNone/>
              <a:defRPr sz="8000">
                <a:solidFill>
                  <a:srgbClr val="FFFFFF"/>
                </a:solidFill>
              </a:defRPr>
            </a:lvl6pPr>
            <a:lvl7pPr lvl="6" algn="r">
              <a:lnSpc>
                <a:spcPct val="100000"/>
              </a:lnSpc>
              <a:spcBef>
                <a:spcPts val="0"/>
              </a:spcBef>
              <a:spcAft>
                <a:spcPts val="0"/>
              </a:spcAft>
              <a:buClr>
                <a:srgbClr val="FFFFFF"/>
              </a:buClr>
              <a:buSzPts val="6000"/>
              <a:buNone/>
              <a:defRPr sz="8000">
                <a:solidFill>
                  <a:srgbClr val="FFFFFF"/>
                </a:solidFill>
              </a:defRPr>
            </a:lvl7pPr>
            <a:lvl8pPr lvl="7" algn="r">
              <a:lnSpc>
                <a:spcPct val="100000"/>
              </a:lnSpc>
              <a:spcBef>
                <a:spcPts val="0"/>
              </a:spcBef>
              <a:spcAft>
                <a:spcPts val="0"/>
              </a:spcAft>
              <a:buClr>
                <a:srgbClr val="FFFFFF"/>
              </a:buClr>
              <a:buSzPts val="6000"/>
              <a:buNone/>
              <a:defRPr sz="8000">
                <a:solidFill>
                  <a:srgbClr val="FFFFFF"/>
                </a:solidFill>
              </a:defRPr>
            </a:lvl8pPr>
            <a:lvl9pPr lvl="8" algn="r">
              <a:lnSpc>
                <a:spcPct val="100000"/>
              </a:lnSpc>
              <a:spcBef>
                <a:spcPts val="0"/>
              </a:spcBef>
              <a:spcAft>
                <a:spcPts val="0"/>
              </a:spcAft>
              <a:buClr>
                <a:srgbClr val="FFFFFF"/>
              </a:buClr>
              <a:buSzPts val="6000"/>
              <a:buNone/>
              <a:defRPr sz="8000">
                <a:solidFill>
                  <a:srgbClr val="FFFFFF"/>
                </a:solidFill>
              </a:defRPr>
            </a:lvl9pPr>
          </a:lstStyle>
          <a:p>
            <a:endParaRPr lang="en-GB"/>
          </a:p>
        </p:txBody>
      </p:sp>
      <p:sp>
        <p:nvSpPr>
          <p:cNvPr id="7" name="Google Shape;84;p26">
            <a:extLst>
              <a:ext uri="{FF2B5EF4-FFF2-40B4-BE49-F238E27FC236}">
                <a16:creationId xmlns:a16="http://schemas.microsoft.com/office/drawing/2014/main" id="{66792272-ABE7-4C72-945B-F36106396D74}"/>
              </a:ext>
            </a:extLst>
          </p:cNvPr>
          <p:cNvSpPr txBox="1">
            <a:spLocks noGrp="1"/>
          </p:cNvSpPr>
          <p:nvPr>
            <p:ph type="sldNum" idx="4"/>
          </p:nvPr>
        </p:nvSpPr>
        <p:spPr>
          <a:xfrm>
            <a:off x="11355439" y="6146868"/>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chemeClr val="bg1">
                    <a:lumMod val="10000"/>
                  </a:schemeClr>
                </a:solidFill>
                <a:latin typeface="Ubuntu Light"/>
                <a:ea typeface="Ubuntu Light"/>
                <a:cs typeface="Ubuntu Light"/>
                <a:sym typeface="Ubuntu Light"/>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12987777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BIG Title slide 1" userDrawn="1">
  <p:cSld name="BIG Title slide 1">
    <p:bg>
      <p:bgPr>
        <a:solidFill>
          <a:schemeClr val="dk2"/>
        </a:solidFill>
        <a:effectLst/>
      </p:bgPr>
    </p:bg>
    <p:spTree>
      <p:nvGrpSpPr>
        <p:cNvPr id="1" name="Shape 2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4DD7D56-F6C5-40BE-AD1A-1350C2DE6261}"/>
              </a:ext>
            </a:extLst>
          </p:cNvPr>
          <p:cNvGraphicFramePr>
            <a:graphicFrameLocks noChangeAspect="1"/>
          </p:cNvGraphicFramePr>
          <p:nvPr userDrawn="1">
            <p:custDataLst>
              <p:tags r:id="rId1"/>
            </p:custDataLst>
            <p:extLst>
              <p:ext uri="{D42A27DB-BD31-4B8C-83A1-F6EECF244321}">
                <p14:modId xmlns:p14="http://schemas.microsoft.com/office/powerpoint/2010/main" val="2478088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2" name="Object 1" hidden="1">
                        <a:extLst>
                          <a:ext uri="{FF2B5EF4-FFF2-40B4-BE49-F238E27FC236}">
                            <a16:creationId xmlns:a16="http://schemas.microsoft.com/office/drawing/2014/main" id="{14DD7D56-F6C5-40BE-AD1A-1350C2DE62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Google Shape;29;p25"/>
          <p:cNvSpPr txBox="1">
            <a:spLocks noGrp="1"/>
          </p:cNvSpPr>
          <p:nvPr>
            <p:ph type="ctrTitle"/>
          </p:nvPr>
        </p:nvSpPr>
        <p:spPr>
          <a:xfrm>
            <a:off x="3048200" y="2475033"/>
            <a:ext cx="5833600" cy="1908000"/>
          </a:xfrm>
          <a:prstGeom prst="rect">
            <a:avLst/>
          </a:prstGeom>
          <a:noFill/>
          <a:ln>
            <a:noFill/>
          </a:ln>
        </p:spPr>
        <p:txBody>
          <a:bodyPr spcFirstLastPara="1" wrap="square" lIns="91425" tIns="91425" rIns="91425" bIns="91425" anchor="ctr" anchorCtr="0">
            <a:noAutofit/>
          </a:bodyPr>
          <a:lstStyle>
            <a:lvl1pPr lvl="0" algn="l" rtl="0">
              <a:lnSpc>
                <a:spcPct val="100000"/>
              </a:lnSpc>
              <a:spcBef>
                <a:spcPts val="0"/>
              </a:spcBef>
              <a:spcAft>
                <a:spcPts val="0"/>
              </a:spcAft>
              <a:buClr>
                <a:srgbClr val="F4EFEA"/>
              </a:buClr>
              <a:buSzPts val="2400"/>
              <a:buNone/>
              <a:defRPr b="1">
                <a:solidFill>
                  <a:srgbClr val="F4EFEA"/>
                </a:solidFill>
              </a:defRPr>
            </a:lvl1pPr>
            <a:lvl2pPr lvl="1" algn="ctr">
              <a:lnSpc>
                <a:spcPct val="100000"/>
              </a:lnSpc>
              <a:spcBef>
                <a:spcPts val="0"/>
              </a:spcBef>
              <a:spcAft>
                <a:spcPts val="0"/>
              </a:spcAft>
              <a:buClr>
                <a:srgbClr val="434343"/>
              </a:buClr>
              <a:buSzPts val="2400"/>
              <a:buNone/>
              <a:defRPr>
                <a:solidFill>
                  <a:srgbClr val="434343"/>
                </a:solidFill>
              </a:defRPr>
            </a:lvl2pPr>
            <a:lvl3pPr lvl="2" algn="ctr">
              <a:lnSpc>
                <a:spcPct val="100000"/>
              </a:lnSpc>
              <a:spcBef>
                <a:spcPts val="0"/>
              </a:spcBef>
              <a:spcAft>
                <a:spcPts val="0"/>
              </a:spcAft>
              <a:buClr>
                <a:srgbClr val="434343"/>
              </a:buClr>
              <a:buSzPts val="2400"/>
              <a:buNone/>
              <a:defRPr>
                <a:solidFill>
                  <a:srgbClr val="434343"/>
                </a:solidFill>
              </a:defRPr>
            </a:lvl3pPr>
            <a:lvl4pPr lvl="3" algn="ctr">
              <a:lnSpc>
                <a:spcPct val="100000"/>
              </a:lnSpc>
              <a:spcBef>
                <a:spcPts val="0"/>
              </a:spcBef>
              <a:spcAft>
                <a:spcPts val="0"/>
              </a:spcAft>
              <a:buClr>
                <a:srgbClr val="434343"/>
              </a:buClr>
              <a:buSzPts val="2400"/>
              <a:buNone/>
              <a:defRPr>
                <a:solidFill>
                  <a:srgbClr val="434343"/>
                </a:solidFill>
              </a:defRPr>
            </a:lvl4pPr>
            <a:lvl5pPr lvl="4" algn="ctr">
              <a:lnSpc>
                <a:spcPct val="100000"/>
              </a:lnSpc>
              <a:spcBef>
                <a:spcPts val="0"/>
              </a:spcBef>
              <a:spcAft>
                <a:spcPts val="0"/>
              </a:spcAft>
              <a:buClr>
                <a:srgbClr val="434343"/>
              </a:buClr>
              <a:buSzPts val="2400"/>
              <a:buNone/>
              <a:defRPr>
                <a:solidFill>
                  <a:srgbClr val="434343"/>
                </a:solidFill>
              </a:defRPr>
            </a:lvl5pPr>
            <a:lvl6pPr lvl="5" algn="ctr">
              <a:lnSpc>
                <a:spcPct val="100000"/>
              </a:lnSpc>
              <a:spcBef>
                <a:spcPts val="0"/>
              </a:spcBef>
              <a:spcAft>
                <a:spcPts val="0"/>
              </a:spcAft>
              <a:buClr>
                <a:srgbClr val="434343"/>
              </a:buClr>
              <a:buSzPts val="2400"/>
              <a:buNone/>
              <a:defRPr>
                <a:solidFill>
                  <a:srgbClr val="434343"/>
                </a:solidFill>
              </a:defRPr>
            </a:lvl6pPr>
            <a:lvl7pPr lvl="6" algn="ctr">
              <a:lnSpc>
                <a:spcPct val="100000"/>
              </a:lnSpc>
              <a:spcBef>
                <a:spcPts val="0"/>
              </a:spcBef>
              <a:spcAft>
                <a:spcPts val="0"/>
              </a:spcAft>
              <a:buClr>
                <a:srgbClr val="434343"/>
              </a:buClr>
              <a:buSzPts val="2400"/>
              <a:buNone/>
              <a:defRPr>
                <a:solidFill>
                  <a:srgbClr val="434343"/>
                </a:solidFill>
              </a:defRPr>
            </a:lvl7pPr>
            <a:lvl8pPr lvl="7" algn="ctr">
              <a:lnSpc>
                <a:spcPct val="100000"/>
              </a:lnSpc>
              <a:spcBef>
                <a:spcPts val="0"/>
              </a:spcBef>
              <a:spcAft>
                <a:spcPts val="0"/>
              </a:spcAft>
              <a:buClr>
                <a:srgbClr val="434343"/>
              </a:buClr>
              <a:buSzPts val="2400"/>
              <a:buNone/>
              <a:defRPr>
                <a:solidFill>
                  <a:srgbClr val="434343"/>
                </a:solidFill>
              </a:defRPr>
            </a:lvl8pPr>
            <a:lvl9pPr lvl="8" algn="ctr">
              <a:lnSpc>
                <a:spcPct val="100000"/>
              </a:lnSpc>
              <a:spcBef>
                <a:spcPts val="0"/>
              </a:spcBef>
              <a:spcAft>
                <a:spcPts val="0"/>
              </a:spcAft>
              <a:buClr>
                <a:srgbClr val="434343"/>
              </a:buClr>
              <a:buSzPts val="2400"/>
              <a:buNone/>
              <a:defRPr>
                <a:solidFill>
                  <a:srgbClr val="434343"/>
                </a:solidFill>
              </a:defRPr>
            </a:lvl9pPr>
          </a:lstStyle>
          <a:p>
            <a:endParaRPr lang="en-GB"/>
          </a:p>
        </p:txBody>
      </p:sp>
      <p:sp>
        <p:nvSpPr>
          <p:cNvPr id="32" name="Google Shape;32;p25"/>
          <p:cNvSpPr txBox="1">
            <a:spLocks noGrp="1"/>
          </p:cNvSpPr>
          <p:nvPr>
            <p:ph type="subTitle" idx="1"/>
          </p:nvPr>
        </p:nvSpPr>
        <p:spPr>
          <a:xfrm>
            <a:off x="3044867" y="4628200"/>
            <a:ext cx="4459600" cy="599600"/>
          </a:xfrm>
          <a:prstGeom prst="rect">
            <a:avLst/>
          </a:prstGeom>
          <a:noFill/>
          <a:ln>
            <a:noFill/>
          </a:ln>
        </p:spPr>
        <p:txBody>
          <a:bodyPr spcFirstLastPara="1" wrap="square" lIns="91425" tIns="91425" rIns="91425" bIns="91425" anchor="ctr" anchorCtr="0">
            <a:noAutofit/>
          </a:bodyPr>
          <a:lstStyle>
            <a:lvl1pPr lvl="0" algn="l" rtl="0">
              <a:lnSpc>
                <a:spcPct val="100000"/>
              </a:lnSpc>
              <a:spcBef>
                <a:spcPts val="0"/>
              </a:spcBef>
              <a:spcAft>
                <a:spcPts val="0"/>
              </a:spcAft>
              <a:buSzPts val="1300"/>
              <a:buNone/>
              <a:defRPr sz="1867">
                <a:solidFill>
                  <a:schemeClr val="accent1"/>
                </a:solidFill>
                <a:latin typeface="Oswald"/>
                <a:ea typeface="Oswald"/>
                <a:cs typeface="Oswald"/>
                <a:sym typeface="Oswald"/>
              </a:defRPr>
            </a:lvl1pPr>
            <a:lvl2pPr lvl="1" algn="l">
              <a:lnSpc>
                <a:spcPct val="100000"/>
              </a:lnSpc>
              <a:spcBef>
                <a:spcPts val="0"/>
              </a:spcBef>
              <a:spcAft>
                <a:spcPts val="0"/>
              </a:spcAft>
              <a:buSzPts val="1300"/>
              <a:buNone/>
              <a:defRPr/>
            </a:lvl2pPr>
            <a:lvl3pPr lvl="2" algn="l">
              <a:lnSpc>
                <a:spcPct val="100000"/>
              </a:lnSpc>
              <a:spcBef>
                <a:spcPts val="0"/>
              </a:spcBef>
              <a:spcAft>
                <a:spcPts val="0"/>
              </a:spcAft>
              <a:buSzPts val="1200"/>
              <a:buNone/>
              <a:defRPr/>
            </a:lvl3pPr>
            <a:lvl4pPr lvl="3" algn="l">
              <a:lnSpc>
                <a:spcPct val="100000"/>
              </a:lnSpc>
              <a:spcBef>
                <a:spcPts val="0"/>
              </a:spcBef>
              <a:spcAft>
                <a:spcPts val="0"/>
              </a:spcAft>
              <a:buSzPts val="12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000"/>
              <a:buNone/>
              <a:defRPr/>
            </a:lvl7pPr>
            <a:lvl8pPr lvl="7" algn="l">
              <a:lnSpc>
                <a:spcPct val="100000"/>
              </a:lnSpc>
              <a:spcBef>
                <a:spcPts val="0"/>
              </a:spcBef>
              <a:spcAft>
                <a:spcPts val="0"/>
              </a:spcAft>
              <a:buSzPts val="1000"/>
              <a:buNone/>
              <a:defRPr/>
            </a:lvl8pPr>
            <a:lvl9pPr lvl="8" algn="l">
              <a:lnSpc>
                <a:spcPct val="100000"/>
              </a:lnSpc>
              <a:spcBef>
                <a:spcPts val="0"/>
              </a:spcBef>
              <a:spcAft>
                <a:spcPts val="0"/>
              </a:spcAft>
              <a:buSzPts val="900"/>
              <a:buNone/>
              <a:defRPr/>
            </a:lvl9pPr>
          </a:lstStyle>
          <a:p>
            <a:endParaRPr lang="en-GB"/>
          </a:p>
        </p:txBody>
      </p:sp>
      <p:sp>
        <p:nvSpPr>
          <p:cNvPr id="10" name="Google Shape;84;p26">
            <a:extLst>
              <a:ext uri="{FF2B5EF4-FFF2-40B4-BE49-F238E27FC236}">
                <a16:creationId xmlns:a16="http://schemas.microsoft.com/office/drawing/2014/main" id="{54B530DC-3832-47A8-B4E7-937B09EF1800}"/>
              </a:ext>
            </a:extLst>
          </p:cNvPr>
          <p:cNvSpPr txBox="1">
            <a:spLocks noGrp="1"/>
          </p:cNvSpPr>
          <p:nvPr>
            <p:ph type="sldNum" idx="4"/>
          </p:nvPr>
        </p:nvSpPr>
        <p:spPr>
          <a:xfrm>
            <a:off x="11355439" y="6146868"/>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rgbClr val="FFFFFF"/>
                </a:solidFill>
                <a:latin typeface="Ubuntu Light"/>
                <a:ea typeface="Ubuntu Light"/>
                <a:cs typeface="Ubuntu Light"/>
                <a:sym typeface="Ubuntu Light"/>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41232804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82853-A309-5787-0DAD-A22B6B7D9C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92BAFB-1164-9B25-5B5F-55F168B589F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D04AC75-9080-9E41-2463-7F018BDBF9F8}"/>
              </a:ext>
            </a:extLst>
          </p:cNvPr>
          <p:cNvSpPr>
            <a:spLocks noGrp="1"/>
          </p:cNvSpPr>
          <p:nvPr>
            <p:ph type="dt" sz="half" idx="10"/>
          </p:nvPr>
        </p:nvSpPr>
        <p:spPr/>
        <p:txBody>
          <a:bodyPr/>
          <a:lstStyle/>
          <a:p>
            <a:fld id="{07A90FDE-9235-4AAA-A963-A5DE85CD7AD6}" type="datetimeFigureOut">
              <a:rPr lang="en-US" smtClean="0"/>
              <a:t>2/1/2024</a:t>
            </a:fld>
            <a:endParaRPr lang="en-US"/>
          </a:p>
        </p:txBody>
      </p:sp>
      <p:sp>
        <p:nvSpPr>
          <p:cNvPr id="5" name="Footer Placeholder 4">
            <a:extLst>
              <a:ext uri="{FF2B5EF4-FFF2-40B4-BE49-F238E27FC236}">
                <a16:creationId xmlns:a16="http://schemas.microsoft.com/office/drawing/2014/main" id="{D3BC4D20-1F69-D2F7-8263-52B65FC1C30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CC32BB-BC34-8D3F-53FB-BFB592FFE785}"/>
              </a:ext>
            </a:extLst>
          </p:cNvPr>
          <p:cNvSpPr>
            <a:spLocks noGrp="1"/>
          </p:cNvSpPr>
          <p:nvPr>
            <p:ph type="sldNum" sz="quarter" idx="12"/>
          </p:nvPr>
        </p:nvSpPr>
        <p:spPr/>
        <p:txBody>
          <a:bodyPr/>
          <a:lstStyle/>
          <a:p>
            <a:fld id="{8F3F5554-3204-4189-AEC2-EDFD4F2C1FB6}" type="slidenum">
              <a:rPr lang="en-US" smtClean="0"/>
              <a:t>‹#›</a:t>
            </a:fld>
            <a:endParaRPr lang="en-US"/>
          </a:p>
        </p:txBody>
      </p:sp>
    </p:spTree>
    <p:extLst>
      <p:ext uri="{BB962C8B-B14F-4D97-AF65-F5344CB8AC3E}">
        <p14:creationId xmlns:p14="http://schemas.microsoft.com/office/powerpoint/2010/main" val="2832819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8637B4-AF4C-5392-0229-7B4D0EF18E0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CAC0F09-6307-EDE8-349F-54F182899E7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E38C807-CB05-DBC5-DBCB-2C2A5546F34B}"/>
              </a:ext>
            </a:extLst>
          </p:cNvPr>
          <p:cNvSpPr>
            <a:spLocks noGrp="1"/>
          </p:cNvSpPr>
          <p:nvPr>
            <p:ph type="dt" sz="half" idx="10"/>
          </p:nvPr>
        </p:nvSpPr>
        <p:spPr/>
        <p:txBody>
          <a:bodyPr/>
          <a:lstStyle/>
          <a:p>
            <a:fld id="{07A90FDE-9235-4AAA-A963-A5DE85CD7AD6}" type="datetimeFigureOut">
              <a:rPr lang="en-US" smtClean="0"/>
              <a:t>2/1/2024</a:t>
            </a:fld>
            <a:endParaRPr lang="en-US"/>
          </a:p>
        </p:txBody>
      </p:sp>
      <p:sp>
        <p:nvSpPr>
          <p:cNvPr id="5" name="Footer Placeholder 4">
            <a:extLst>
              <a:ext uri="{FF2B5EF4-FFF2-40B4-BE49-F238E27FC236}">
                <a16:creationId xmlns:a16="http://schemas.microsoft.com/office/drawing/2014/main" id="{EC3273E0-D737-CA82-B38F-4D297CEE9B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8DB414D-4797-1487-89F8-B76725093A70}"/>
              </a:ext>
            </a:extLst>
          </p:cNvPr>
          <p:cNvSpPr>
            <a:spLocks noGrp="1"/>
          </p:cNvSpPr>
          <p:nvPr>
            <p:ph type="sldNum" sz="quarter" idx="12"/>
          </p:nvPr>
        </p:nvSpPr>
        <p:spPr/>
        <p:txBody>
          <a:bodyPr/>
          <a:lstStyle/>
          <a:p>
            <a:fld id="{8F3F5554-3204-4189-AEC2-EDFD4F2C1FB6}" type="slidenum">
              <a:rPr lang="en-US" smtClean="0"/>
              <a:t>‹#›</a:t>
            </a:fld>
            <a:endParaRPr lang="en-US"/>
          </a:p>
        </p:txBody>
      </p:sp>
    </p:spTree>
    <p:extLst>
      <p:ext uri="{BB962C8B-B14F-4D97-AF65-F5344CB8AC3E}">
        <p14:creationId xmlns:p14="http://schemas.microsoft.com/office/powerpoint/2010/main" val="33586231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12DF2-C4F3-718D-D086-0F40E88825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42691FE-B524-C4B4-60A9-192F95EEEB9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031EBC-E6EF-7430-9F3B-81D06222961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F32B5DD-CC0C-4044-6019-59CEBBA65BFA}"/>
              </a:ext>
            </a:extLst>
          </p:cNvPr>
          <p:cNvSpPr>
            <a:spLocks noGrp="1"/>
          </p:cNvSpPr>
          <p:nvPr>
            <p:ph type="dt" sz="half" idx="10"/>
          </p:nvPr>
        </p:nvSpPr>
        <p:spPr/>
        <p:txBody>
          <a:bodyPr/>
          <a:lstStyle/>
          <a:p>
            <a:fld id="{07A90FDE-9235-4AAA-A963-A5DE85CD7AD6}" type="datetimeFigureOut">
              <a:rPr lang="en-US" smtClean="0"/>
              <a:t>2/1/2024</a:t>
            </a:fld>
            <a:endParaRPr lang="en-US"/>
          </a:p>
        </p:txBody>
      </p:sp>
      <p:sp>
        <p:nvSpPr>
          <p:cNvPr id="6" name="Footer Placeholder 5">
            <a:extLst>
              <a:ext uri="{FF2B5EF4-FFF2-40B4-BE49-F238E27FC236}">
                <a16:creationId xmlns:a16="http://schemas.microsoft.com/office/drawing/2014/main" id="{6A24A2E5-1F95-456F-7D9A-30684E9CD64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2E596AD-6FE2-B1E3-5032-967EF51979E4}"/>
              </a:ext>
            </a:extLst>
          </p:cNvPr>
          <p:cNvSpPr>
            <a:spLocks noGrp="1"/>
          </p:cNvSpPr>
          <p:nvPr>
            <p:ph type="sldNum" sz="quarter" idx="12"/>
          </p:nvPr>
        </p:nvSpPr>
        <p:spPr/>
        <p:txBody>
          <a:bodyPr/>
          <a:lstStyle/>
          <a:p>
            <a:fld id="{8F3F5554-3204-4189-AEC2-EDFD4F2C1FB6}" type="slidenum">
              <a:rPr lang="en-US" smtClean="0"/>
              <a:t>‹#›</a:t>
            </a:fld>
            <a:endParaRPr lang="en-US"/>
          </a:p>
        </p:txBody>
      </p:sp>
    </p:spTree>
    <p:extLst>
      <p:ext uri="{BB962C8B-B14F-4D97-AF65-F5344CB8AC3E}">
        <p14:creationId xmlns:p14="http://schemas.microsoft.com/office/powerpoint/2010/main" val="25521879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331DAC-D1B0-53FC-3A8B-1F1925F7578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4FAA013-6C04-D346-274B-96ECB8DEB69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A9416BD-A911-48F7-1BE1-01CC8A42413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42B7460-A532-5FAA-4FDB-C3CE3AACAF6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D9EA22F-8CD4-1F20-7875-D75EDD2FB3F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97E4093-FDA1-319D-1510-23589352C623}"/>
              </a:ext>
            </a:extLst>
          </p:cNvPr>
          <p:cNvSpPr>
            <a:spLocks noGrp="1"/>
          </p:cNvSpPr>
          <p:nvPr>
            <p:ph type="dt" sz="half" idx="10"/>
          </p:nvPr>
        </p:nvSpPr>
        <p:spPr/>
        <p:txBody>
          <a:bodyPr/>
          <a:lstStyle/>
          <a:p>
            <a:fld id="{07A90FDE-9235-4AAA-A963-A5DE85CD7AD6}" type="datetimeFigureOut">
              <a:rPr lang="en-US" smtClean="0"/>
              <a:t>2/1/2024</a:t>
            </a:fld>
            <a:endParaRPr lang="en-US"/>
          </a:p>
        </p:txBody>
      </p:sp>
      <p:sp>
        <p:nvSpPr>
          <p:cNvPr id="8" name="Footer Placeholder 7">
            <a:extLst>
              <a:ext uri="{FF2B5EF4-FFF2-40B4-BE49-F238E27FC236}">
                <a16:creationId xmlns:a16="http://schemas.microsoft.com/office/drawing/2014/main" id="{EE2F6568-6DAA-3C4B-5DE5-456732781E9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2ACAB08-09C3-BC8D-A944-1D0EEC0BF0EF}"/>
              </a:ext>
            </a:extLst>
          </p:cNvPr>
          <p:cNvSpPr>
            <a:spLocks noGrp="1"/>
          </p:cNvSpPr>
          <p:nvPr>
            <p:ph type="sldNum" sz="quarter" idx="12"/>
          </p:nvPr>
        </p:nvSpPr>
        <p:spPr/>
        <p:txBody>
          <a:bodyPr/>
          <a:lstStyle/>
          <a:p>
            <a:fld id="{8F3F5554-3204-4189-AEC2-EDFD4F2C1FB6}" type="slidenum">
              <a:rPr lang="en-US" smtClean="0"/>
              <a:t>‹#›</a:t>
            </a:fld>
            <a:endParaRPr lang="en-US"/>
          </a:p>
        </p:txBody>
      </p:sp>
    </p:spTree>
    <p:extLst>
      <p:ext uri="{BB962C8B-B14F-4D97-AF65-F5344CB8AC3E}">
        <p14:creationId xmlns:p14="http://schemas.microsoft.com/office/powerpoint/2010/main" val="19290281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77F9DB-3BE7-DC2B-D5F1-7E7845E7E2D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2A2DB75-3B83-2712-3557-6542A63C4FD1}"/>
              </a:ext>
            </a:extLst>
          </p:cNvPr>
          <p:cNvSpPr>
            <a:spLocks noGrp="1"/>
          </p:cNvSpPr>
          <p:nvPr>
            <p:ph type="dt" sz="half" idx="10"/>
          </p:nvPr>
        </p:nvSpPr>
        <p:spPr/>
        <p:txBody>
          <a:bodyPr/>
          <a:lstStyle/>
          <a:p>
            <a:fld id="{07A90FDE-9235-4AAA-A963-A5DE85CD7AD6}" type="datetimeFigureOut">
              <a:rPr lang="en-US" smtClean="0"/>
              <a:t>2/1/2024</a:t>
            </a:fld>
            <a:endParaRPr lang="en-US"/>
          </a:p>
        </p:txBody>
      </p:sp>
      <p:sp>
        <p:nvSpPr>
          <p:cNvPr id="4" name="Footer Placeholder 3">
            <a:extLst>
              <a:ext uri="{FF2B5EF4-FFF2-40B4-BE49-F238E27FC236}">
                <a16:creationId xmlns:a16="http://schemas.microsoft.com/office/drawing/2014/main" id="{D472761C-1F2D-41AA-2916-8C4A633246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A168CE5-7F6D-33AE-0DEA-CDFBBFDF1B6D}"/>
              </a:ext>
            </a:extLst>
          </p:cNvPr>
          <p:cNvSpPr>
            <a:spLocks noGrp="1"/>
          </p:cNvSpPr>
          <p:nvPr>
            <p:ph type="sldNum" sz="quarter" idx="12"/>
          </p:nvPr>
        </p:nvSpPr>
        <p:spPr/>
        <p:txBody>
          <a:bodyPr/>
          <a:lstStyle/>
          <a:p>
            <a:fld id="{8F3F5554-3204-4189-AEC2-EDFD4F2C1FB6}" type="slidenum">
              <a:rPr lang="en-US" smtClean="0"/>
              <a:t>‹#›</a:t>
            </a:fld>
            <a:endParaRPr lang="en-US"/>
          </a:p>
        </p:txBody>
      </p:sp>
    </p:spTree>
    <p:extLst>
      <p:ext uri="{BB962C8B-B14F-4D97-AF65-F5344CB8AC3E}">
        <p14:creationId xmlns:p14="http://schemas.microsoft.com/office/powerpoint/2010/main" val="28591125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FF8E8C0-8BC0-DA10-29C7-6F5C6FB7AC28}"/>
              </a:ext>
            </a:extLst>
          </p:cNvPr>
          <p:cNvSpPr>
            <a:spLocks noGrp="1"/>
          </p:cNvSpPr>
          <p:nvPr>
            <p:ph type="dt" sz="half" idx="10"/>
          </p:nvPr>
        </p:nvSpPr>
        <p:spPr/>
        <p:txBody>
          <a:bodyPr/>
          <a:lstStyle/>
          <a:p>
            <a:fld id="{07A90FDE-9235-4AAA-A963-A5DE85CD7AD6}" type="datetimeFigureOut">
              <a:rPr lang="en-US" smtClean="0"/>
              <a:t>2/1/2024</a:t>
            </a:fld>
            <a:endParaRPr lang="en-US"/>
          </a:p>
        </p:txBody>
      </p:sp>
      <p:sp>
        <p:nvSpPr>
          <p:cNvPr id="3" name="Footer Placeholder 2">
            <a:extLst>
              <a:ext uri="{FF2B5EF4-FFF2-40B4-BE49-F238E27FC236}">
                <a16:creationId xmlns:a16="http://schemas.microsoft.com/office/drawing/2014/main" id="{5E71EA4C-BAA1-C0CF-65BB-0EA7F5821F4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4413B90-2C28-D1FF-A023-BF5EA3DB86D2}"/>
              </a:ext>
            </a:extLst>
          </p:cNvPr>
          <p:cNvSpPr>
            <a:spLocks noGrp="1"/>
          </p:cNvSpPr>
          <p:nvPr>
            <p:ph type="sldNum" sz="quarter" idx="12"/>
          </p:nvPr>
        </p:nvSpPr>
        <p:spPr/>
        <p:txBody>
          <a:bodyPr/>
          <a:lstStyle/>
          <a:p>
            <a:fld id="{8F3F5554-3204-4189-AEC2-EDFD4F2C1FB6}" type="slidenum">
              <a:rPr lang="en-US" smtClean="0"/>
              <a:t>‹#›</a:t>
            </a:fld>
            <a:endParaRPr lang="en-US"/>
          </a:p>
        </p:txBody>
      </p:sp>
    </p:spTree>
    <p:extLst>
      <p:ext uri="{BB962C8B-B14F-4D97-AF65-F5344CB8AC3E}">
        <p14:creationId xmlns:p14="http://schemas.microsoft.com/office/powerpoint/2010/main" val="13750893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A9AA40-054F-6B4D-0666-55D7404F4C0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DCA8D90-045C-DE70-4F59-C25DB5EEFC0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DAD7163-D267-E52B-8008-3C6DA2A9F9F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AF94BB2-0F90-D207-7978-314F81A21DB1}"/>
              </a:ext>
            </a:extLst>
          </p:cNvPr>
          <p:cNvSpPr>
            <a:spLocks noGrp="1"/>
          </p:cNvSpPr>
          <p:nvPr>
            <p:ph type="dt" sz="half" idx="10"/>
          </p:nvPr>
        </p:nvSpPr>
        <p:spPr/>
        <p:txBody>
          <a:bodyPr/>
          <a:lstStyle/>
          <a:p>
            <a:fld id="{07A90FDE-9235-4AAA-A963-A5DE85CD7AD6}" type="datetimeFigureOut">
              <a:rPr lang="en-US" smtClean="0"/>
              <a:t>2/1/2024</a:t>
            </a:fld>
            <a:endParaRPr lang="en-US"/>
          </a:p>
        </p:txBody>
      </p:sp>
      <p:sp>
        <p:nvSpPr>
          <p:cNvPr id="6" name="Footer Placeholder 5">
            <a:extLst>
              <a:ext uri="{FF2B5EF4-FFF2-40B4-BE49-F238E27FC236}">
                <a16:creationId xmlns:a16="http://schemas.microsoft.com/office/drawing/2014/main" id="{785F9DDB-9924-E2F0-7ECA-51CD5282425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56E9CE4-DC02-AA2A-BB73-259C36BF7E33}"/>
              </a:ext>
            </a:extLst>
          </p:cNvPr>
          <p:cNvSpPr>
            <a:spLocks noGrp="1"/>
          </p:cNvSpPr>
          <p:nvPr>
            <p:ph type="sldNum" sz="quarter" idx="12"/>
          </p:nvPr>
        </p:nvSpPr>
        <p:spPr/>
        <p:txBody>
          <a:bodyPr/>
          <a:lstStyle/>
          <a:p>
            <a:fld id="{8F3F5554-3204-4189-AEC2-EDFD4F2C1FB6}" type="slidenum">
              <a:rPr lang="en-US" smtClean="0"/>
              <a:t>‹#›</a:t>
            </a:fld>
            <a:endParaRPr lang="en-US"/>
          </a:p>
        </p:txBody>
      </p:sp>
    </p:spTree>
    <p:extLst>
      <p:ext uri="{BB962C8B-B14F-4D97-AF65-F5344CB8AC3E}">
        <p14:creationId xmlns:p14="http://schemas.microsoft.com/office/powerpoint/2010/main" val="1649118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1594E6-3E7A-77F2-2614-F9B5F48CE29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5E651E5-B3F3-DA04-9B51-15E780839CA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7A505C1-0C06-D580-B81B-F6BBC4AF825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9A68A3A-D458-CBF1-02C5-7CDDB1A0D3EA}"/>
              </a:ext>
            </a:extLst>
          </p:cNvPr>
          <p:cNvSpPr>
            <a:spLocks noGrp="1"/>
          </p:cNvSpPr>
          <p:nvPr>
            <p:ph type="dt" sz="half" idx="10"/>
          </p:nvPr>
        </p:nvSpPr>
        <p:spPr/>
        <p:txBody>
          <a:bodyPr/>
          <a:lstStyle/>
          <a:p>
            <a:fld id="{07A90FDE-9235-4AAA-A963-A5DE85CD7AD6}" type="datetimeFigureOut">
              <a:rPr lang="en-US" smtClean="0"/>
              <a:t>2/1/2024</a:t>
            </a:fld>
            <a:endParaRPr lang="en-US"/>
          </a:p>
        </p:txBody>
      </p:sp>
      <p:sp>
        <p:nvSpPr>
          <p:cNvPr id="6" name="Footer Placeholder 5">
            <a:extLst>
              <a:ext uri="{FF2B5EF4-FFF2-40B4-BE49-F238E27FC236}">
                <a16:creationId xmlns:a16="http://schemas.microsoft.com/office/drawing/2014/main" id="{F6F8680A-935A-FDBF-7ED3-C9B4F10F0A8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343CCB6-C256-5F5A-A8CE-DEABED982A91}"/>
              </a:ext>
            </a:extLst>
          </p:cNvPr>
          <p:cNvSpPr>
            <a:spLocks noGrp="1"/>
          </p:cNvSpPr>
          <p:nvPr>
            <p:ph type="sldNum" sz="quarter" idx="12"/>
          </p:nvPr>
        </p:nvSpPr>
        <p:spPr/>
        <p:txBody>
          <a:bodyPr/>
          <a:lstStyle/>
          <a:p>
            <a:fld id="{8F3F5554-3204-4189-AEC2-EDFD4F2C1FB6}" type="slidenum">
              <a:rPr lang="en-US" smtClean="0"/>
              <a:t>‹#›</a:t>
            </a:fld>
            <a:endParaRPr lang="en-US"/>
          </a:p>
        </p:txBody>
      </p:sp>
    </p:spTree>
    <p:extLst>
      <p:ext uri="{BB962C8B-B14F-4D97-AF65-F5344CB8AC3E}">
        <p14:creationId xmlns:p14="http://schemas.microsoft.com/office/powerpoint/2010/main" val="24588136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AFF87ED-DBE9-BA9F-0EF9-BEC44B529AA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15F0DFF-78C4-DD50-CF08-3A7108C9740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409FD2-ABA8-5402-39BD-C855E26E399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7A90FDE-9235-4AAA-A963-A5DE85CD7AD6}" type="datetimeFigureOut">
              <a:rPr lang="en-US" smtClean="0"/>
              <a:t>2/1/2024</a:t>
            </a:fld>
            <a:endParaRPr lang="en-US"/>
          </a:p>
        </p:txBody>
      </p:sp>
      <p:sp>
        <p:nvSpPr>
          <p:cNvPr id="5" name="Footer Placeholder 4">
            <a:extLst>
              <a:ext uri="{FF2B5EF4-FFF2-40B4-BE49-F238E27FC236}">
                <a16:creationId xmlns:a16="http://schemas.microsoft.com/office/drawing/2014/main" id="{A6E5AEB1-9E3F-2083-EF21-21CFBE89A23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BB11B0E-C936-ED76-3341-DC724305F61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F3F5554-3204-4189-AEC2-EDFD4F2C1FB6}" type="slidenum">
              <a:rPr lang="en-US" smtClean="0"/>
              <a:t>‹#›</a:t>
            </a:fld>
            <a:endParaRPr lang="en-US"/>
          </a:p>
        </p:txBody>
      </p:sp>
    </p:spTree>
    <p:extLst>
      <p:ext uri="{BB962C8B-B14F-4D97-AF65-F5344CB8AC3E}">
        <p14:creationId xmlns:p14="http://schemas.microsoft.com/office/powerpoint/2010/main" val="198932577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1.xml"/><Relationship Id="rId7" Type="http://schemas.openxmlformats.org/officeDocument/2006/relationships/image" Target="../media/image4.png"/><Relationship Id="rId2"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2.xml"/><Relationship Id="rId7" Type="http://schemas.openxmlformats.org/officeDocument/2006/relationships/image" Target="../media/image7.svg"/><Relationship Id="rId2" Type="http://schemas.openxmlformats.org/officeDocument/2006/relationships/slideLayout" Target="../slideLayouts/slideLayout12.xml"/><Relationship Id="rId1" Type="http://schemas.openxmlformats.org/officeDocument/2006/relationships/tags" Target="../tags/tag4.xml"/><Relationship Id="rId6" Type="http://schemas.openxmlformats.org/officeDocument/2006/relationships/image" Target="../media/image6.png"/><Relationship Id="rId11" Type="http://schemas.openxmlformats.org/officeDocument/2006/relationships/image" Target="../media/image5.png"/><Relationship Id="rId5" Type="http://schemas.openxmlformats.org/officeDocument/2006/relationships/image" Target="../media/image1.emf"/><Relationship Id="rId10" Type="http://schemas.openxmlformats.org/officeDocument/2006/relationships/image" Target="../media/image4.png"/><Relationship Id="rId4" Type="http://schemas.openxmlformats.org/officeDocument/2006/relationships/oleObject" Target="../embeddings/oleObject4.bin"/><Relationship Id="rId9" Type="http://schemas.openxmlformats.org/officeDocument/2006/relationships/image" Target="../media/image9.svg"/></Relationships>
</file>

<file path=ppt/slides/_rels/slide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3.xml"/><Relationship Id="rId7" Type="http://schemas.openxmlformats.org/officeDocument/2006/relationships/image" Target="../media/image4.png"/><Relationship Id="rId2" Type="http://schemas.openxmlformats.org/officeDocument/2006/relationships/slideLayout" Target="../slideLayouts/slideLayout13.xml"/><Relationship Id="rId1" Type="http://schemas.openxmlformats.org/officeDocument/2006/relationships/tags" Target="../tags/tag5.xml"/><Relationship Id="rId6" Type="http://schemas.openxmlformats.org/officeDocument/2006/relationships/image" Target="../media/image15.jpeg"/><Relationship Id="rId5" Type="http://schemas.openxmlformats.org/officeDocument/2006/relationships/image" Target="../media/image14.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4.xml"/><Relationship Id="rId7" Type="http://schemas.openxmlformats.org/officeDocument/2006/relationships/image" Target="../media/image17.svg"/><Relationship Id="rId2" Type="http://schemas.openxmlformats.org/officeDocument/2006/relationships/slideLayout" Target="../slideLayouts/slideLayout12.xml"/><Relationship Id="rId1" Type="http://schemas.openxmlformats.org/officeDocument/2006/relationships/tags" Target="../tags/tag6.xml"/><Relationship Id="rId6" Type="http://schemas.openxmlformats.org/officeDocument/2006/relationships/image" Target="../media/image16.png"/><Relationship Id="rId11" Type="http://schemas.openxmlformats.org/officeDocument/2006/relationships/image" Target="../media/image5.png"/><Relationship Id="rId5" Type="http://schemas.openxmlformats.org/officeDocument/2006/relationships/image" Target="../media/image1.emf"/><Relationship Id="rId10" Type="http://schemas.openxmlformats.org/officeDocument/2006/relationships/image" Target="../media/image4.png"/><Relationship Id="rId4" Type="http://schemas.openxmlformats.org/officeDocument/2006/relationships/oleObject" Target="../embeddings/oleObject6.bin"/><Relationship Id="rId9" Type="http://schemas.openxmlformats.org/officeDocument/2006/relationships/image" Target="../media/image1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25"/>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7B559B8-8AB3-42C2-B0E1-0BDD1FBCD4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57B559B8-8AB3-42C2-B0E1-0BDD1FBCD4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Google Shape;90;p1">
            <a:extLst>
              <a:ext uri="{FF2B5EF4-FFF2-40B4-BE49-F238E27FC236}">
                <a16:creationId xmlns:a16="http://schemas.microsoft.com/office/drawing/2014/main" id="{880CD6F4-1AF6-4BED-8E7C-87952032E365}"/>
              </a:ext>
            </a:extLst>
          </p:cNvPr>
          <p:cNvSpPr txBox="1"/>
          <p:nvPr/>
        </p:nvSpPr>
        <p:spPr>
          <a:xfrm>
            <a:off x="243440" y="2244182"/>
            <a:ext cx="5901600" cy="1083704"/>
          </a:xfrm>
          <a:prstGeom prst="rect">
            <a:avLst/>
          </a:prstGeom>
          <a:no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800"/>
              </a:spcAft>
              <a:buClr>
                <a:srgbClr val="000000"/>
              </a:buClr>
              <a:buSzPts val="1400"/>
              <a:buFontTx/>
              <a:buNone/>
              <a:tabLst/>
              <a:defRPr/>
            </a:pPr>
            <a:endParaRPr kumimoji="0" lang="en-GB" sz="1400" b="1" i="0" u="none" strike="noStrike" kern="0" cap="none" spc="0" normalizeH="0" baseline="0" noProof="0">
              <a:ln>
                <a:noFill/>
              </a:ln>
              <a:solidFill>
                <a:srgbClr val="FFFFFF"/>
              </a:solidFill>
              <a:effectLst/>
              <a:uLnTx/>
              <a:uFillTx/>
              <a:latin typeface="Poppins" panose="00000500000000000000" pitchFamily="2" charset="0"/>
              <a:ea typeface="Oswald"/>
              <a:cs typeface="Poppins" panose="00000500000000000000" pitchFamily="2" charset="0"/>
              <a:sym typeface="Oswald"/>
            </a:endParaRPr>
          </a:p>
        </p:txBody>
      </p:sp>
      <p:cxnSp>
        <p:nvCxnSpPr>
          <p:cNvPr id="14" name="Straight Arrow Connector 13">
            <a:extLst>
              <a:ext uri="{FF2B5EF4-FFF2-40B4-BE49-F238E27FC236}">
                <a16:creationId xmlns:a16="http://schemas.microsoft.com/office/drawing/2014/main" id="{06C51A3F-20A3-45CE-9D84-A37DC442C2CC}"/>
              </a:ext>
            </a:extLst>
          </p:cNvPr>
          <p:cNvCxnSpPr>
            <a:cxnSpLocks/>
          </p:cNvCxnSpPr>
          <p:nvPr/>
        </p:nvCxnSpPr>
        <p:spPr>
          <a:xfrm>
            <a:off x="341079" y="2650615"/>
            <a:ext cx="1094868" cy="0"/>
          </a:xfrm>
          <a:prstGeom prst="straightConnector1">
            <a:avLst/>
          </a:prstGeom>
          <a:ln w="38100">
            <a:solidFill>
              <a:srgbClr val="145275"/>
            </a:solidFill>
          </a:ln>
        </p:spPr>
        <p:style>
          <a:lnRef idx="1">
            <a:schemeClr val="accent1"/>
          </a:lnRef>
          <a:fillRef idx="0">
            <a:schemeClr val="accent1"/>
          </a:fillRef>
          <a:effectRef idx="0">
            <a:schemeClr val="accent1"/>
          </a:effectRef>
          <a:fontRef idx="minor">
            <a:schemeClr val="tx1"/>
          </a:fontRef>
        </p:style>
      </p:cxnSp>
      <p:pic>
        <p:nvPicPr>
          <p:cNvPr id="63" name="Picture 62">
            <a:extLst>
              <a:ext uri="{FF2B5EF4-FFF2-40B4-BE49-F238E27FC236}">
                <a16:creationId xmlns:a16="http://schemas.microsoft.com/office/drawing/2014/main" id="{192891C1-FA02-6782-16D6-1150DDE8B994}"/>
              </a:ext>
            </a:extLst>
          </p:cNvPr>
          <p:cNvPicPr>
            <a:picLocks noChangeAspect="1"/>
          </p:cNvPicPr>
          <p:nvPr/>
        </p:nvPicPr>
        <p:blipFill>
          <a:blip r:embed="rId6">
            <a:extLst>
              <a:ext uri="{28A0092B-C50C-407E-A947-70E740481C1C}">
                <a14:useLocalDpi xmlns:a14="http://schemas.microsoft.com/office/drawing/2010/main" val="0"/>
              </a:ext>
            </a:extLst>
          </a:blip>
          <a:srcRect l="11061" t="-90" r="85570" b="100000"/>
          <a:stretch>
            <a:fillRect/>
          </a:stretch>
        </p:blipFill>
        <p:spPr>
          <a:xfrm>
            <a:off x="5607391" y="0"/>
            <a:ext cx="227961" cy="6179"/>
          </a:xfrm>
          <a:custGeom>
            <a:avLst/>
            <a:gdLst>
              <a:gd name="connsiteX0" fmla="*/ 0 w 227961"/>
              <a:gd name="connsiteY0" fmla="*/ 0 h 6179"/>
              <a:gd name="connsiteX1" fmla="*/ 227961 w 227961"/>
              <a:gd name="connsiteY1" fmla="*/ 0 h 6179"/>
              <a:gd name="connsiteX2" fmla="*/ 227961 w 227961"/>
              <a:gd name="connsiteY2" fmla="*/ 6179 h 6179"/>
              <a:gd name="connsiteX3" fmla="*/ 0 w 227961"/>
              <a:gd name="connsiteY3" fmla="*/ 6179 h 6179"/>
              <a:gd name="connsiteX4" fmla="*/ 0 w 227961"/>
              <a:gd name="connsiteY4" fmla="*/ 0 h 6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961" h="6179">
                <a:moveTo>
                  <a:pt x="0" y="0"/>
                </a:moveTo>
                <a:lnTo>
                  <a:pt x="227961" y="0"/>
                </a:lnTo>
                <a:lnTo>
                  <a:pt x="227961" y="6179"/>
                </a:lnTo>
                <a:lnTo>
                  <a:pt x="0" y="6179"/>
                </a:lnTo>
                <a:lnTo>
                  <a:pt x="0" y="0"/>
                </a:lnTo>
                <a:close/>
              </a:path>
            </a:pathLst>
          </a:custGeom>
        </p:spPr>
      </p:pic>
      <p:pic>
        <p:nvPicPr>
          <p:cNvPr id="62" name="Picture 61">
            <a:extLst>
              <a:ext uri="{FF2B5EF4-FFF2-40B4-BE49-F238E27FC236}">
                <a16:creationId xmlns:a16="http://schemas.microsoft.com/office/drawing/2014/main" id="{62576E26-03AB-8586-9B16-9320EBBDA0CB}"/>
              </a:ext>
            </a:extLst>
          </p:cNvPr>
          <p:cNvPicPr>
            <a:picLocks noChangeAspect="1"/>
          </p:cNvPicPr>
          <p:nvPr/>
        </p:nvPicPr>
        <p:blipFill>
          <a:blip r:embed="rId6">
            <a:extLst>
              <a:ext uri="{28A0092B-C50C-407E-A947-70E740481C1C}">
                <a14:useLocalDpi xmlns:a14="http://schemas.microsoft.com/office/drawing/2010/main" val="0"/>
              </a:ext>
            </a:extLst>
          </a:blip>
          <a:srcRect l="40033" t="-90" r="56599" b="100000"/>
          <a:stretch>
            <a:fillRect/>
          </a:stretch>
        </p:blipFill>
        <p:spPr>
          <a:xfrm>
            <a:off x="7567911" y="0"/>
            <a:ext cx="227961" cy="6179"/>
          </a:xfrm>
          <a:custGeom>
            <a:avLst/>
            <a:gdLst>
              <a:gd name="connsiteX0" fmla="*/ 0 w 227961"/>
              <a:gd name="connsiteY0" fmla="*/ 0 h 6179"/>
              <a:gd name="connsiteX1" fmla="*/ 227961 w 227961"/>
              <a:gd name="connsiteY1" fmla="*/ 0 h 6179"/>
              <a:gd name="connsiteX2" fmla="*/ 227961 w 227961"/>
              <a:gd name="connsiteY2" fmla="*/ 6179 h 6179"/>
              <a:gd name="connsiteX3" fmla="*/ 0 w 227961"/>
              <a:gd name="connsiteY3" fmla="*/ 6179 h 6179"/>
              <a:gd name="connsiteX4" fmla="*/ 0 w 227961"/>
              <a:gd name="connsiteY4" fmla="*/ 0 h 6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961" h="6179">
                <a:moveTo>
                  <a:pt x="0" y="0"/>
                </a:moveTo>
                <a:lnTo>
                  <a:pt x="227961" y="0"/>
                </a:lnTo>
                <a:lnTo>
                  <a:pt x="227961" y="6179"/>
                </a:lnTo>
                <a:lnTo>
                  <a:pt x="0" y="6179"/>
                </a:lnTo>
                <a:lnTo>
                  <a:pt x="0" y="0"/>
                </a:lnTo>
                <a:close/>
              </a:path>
            </a:pathLst>
          </a:custGeom>
        </p:spPr>
      </p:pic>
      <p:pic>
        <p:nvPicPr>
          <p:cNvPr id="61" name="Picture 60">
            <a:extLst>
              <a:ext uri="{FF2B5EF4-FFF2-40B4-BE49-F238E27FC236}">
                <a16:creationId xmlns:a16="http://schemas.microsoft.com/office/drawing/2014/main" id="{FD112019-6E78-C955-AD04-174AFFE41027}"/>
              </a:ext>
            </a:extLst>
          </p:cNvPr>
          <p:cNvPicPr>
            <a:picLocks noChangeAspect="1"/>
          </p:cNvPicPr>
          <p:nvPr/>
        </p:nvPicPr>
        <p:blipFill>
          <a:blip r:embed="rId6">
            <a:extLst>
              <a:ext uri="{28A0092B-C50C-407E-A947-70E740481C1C}">
                <a14:useLocalDpi xmlns:a14="http://schemas.microsoft.com/office/drawing/2010/main" val="0"/>
              </a:ext>
            </a:extLst>
          </a:blip>
          <a:srcRect l="79268" t="-90" r="17364" b="100000"/>
          <a:stretch>
            <a:fillRect/>
          </a:stretch>
        </p:blipFill>
        <p:spPr>
          <a:xfrm>
            <a:off x="10222978" y="0"/>
            <a:ext cx="227961" cy="6179"/>
          </a:xfrm>
          <a:custGeom>
            <a:avLst/>
            <a:gdLst>
              <a:gd name="connsiteX0" fmla="*/ 0 w 227961"/>
              <a:gd name="connsiteY0" fmla="*/ 0 h 6179"/>
              <a:gd name="connsiteX1" fmla="*/ 227961 w 227961"/>
              <a:gd name="connsiteY1" fmla="*/ 0 h 6179"/>
              <a:gd name="connsiteX2" fmla="*/ 227961 w 227961"/>
              <a:gd name="connsiteY2" fmla="*/ 6179 h 6179"/>
              <a:gd name="connsiteX3" fmla="*/ 0 w 227961"/>
              <a:gd name="connsiteY3" fmla="*/ 6179 h 6179"/>
              <a:gd name="connsiteX4" fmla="*/ 0 w 227961"/>
              <a:gd name="connsiteY4" fmla="*/ 0 h 6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961" h="6179">
                <a:moveTo>
                  <a:pt x="0" y="0"/>
                </a:moveTo>
                <a:lnTo>
                  <a:pt x="227961" y="0"/>
                </a:lnTo>
                <a:lnTo>
                  <a:pt x="227961" y="6179"/>
                </a:lnTo>
                <a:lnTo>
                  <a:pt x="0" y="6179"/>
                </a:lnTo>
                <a:lnTo>
                  <a:pt x="0" y="0"/>
                </a:lnTo>
                <a:close/>
              </a:path>
            </a:pathLst>
          </a:custGeom>
        </p:spPr>
      </p:pic>
      <p:pic>
        <p:nvPicPr>
          <p:cNvPr id="77" name="Picture 76">
            <a:extLst>
              <a:ext uri="{FF2B5EF4-FFF2-40B4-BE49-F238E27FC236}">
                <a16:creationId xmlns:a16="http://schemas.microsoft.com/office/drawing/2014/main" id="{FB0E7DF7-0CF1-9B29-C4A0-C469BDDDADDF}"/>
              </a:ext>
            </a:extLst>
          </p:cNvPr>
          <p:cNvPicPr>
            <a:picLocks noChangeAspect="1"/>
          </p:cNvPicPr>
          <p:nvPr/>
        </p:nvPicPr>
        <p:blipFill>
          <a:blip r:embed="rId6">
            <a:extLst>
              <a:ext uri="{28A0092B-C50C-407E-A947-70E740481C1C}">
                <a14:useLocalDpi xmlns:a14="http://schemas.microsoft.com/office/drawing/2010/main" val="0"/>
              </a:ext>
            </a:extLst>
          </a:blip>
          <a:srcRect l="14430" r="59967" b="47528"/>
          <a:stretch>
            <a:fillRect/>
          </a:stretch>
        </p:blipFill>
        <p:spPr>
          <a:xfrm>
            <a:off x="5835352" y="6158"/>
            <a:ext cx="1732559" cy="3586563"/>
          </a:xfrm>
          <a:custGeom>
            <a:avLst/>
            <a:gdLst>
              <a:gd name="connsiteX0" fmla="*/ 0 w 1732559"/>
              <a:gd name="connsiteY0" fmla="*/ 0 h 3598515"/>
              <a:gd name="connsiteX1" fmla="*/ 1732559 w 1732559"/>
              <a:gd name="connsiteY1" fmla="*/ 0 h 3598515"/>
              <a:gd name="connsiteX2" fmla="*/ 1732559 w 1732559"/>
              <a:gd name="connsiteY2" fmla="*/ 3295503 h 3598515"/>
              <a:gd name="connsiteX3" fmla="*/ 0 w 1732559"/>
              <a:gd name="connsiteY3" fmla="*/ 3598515 h 3598515"/>
              <a:gd name="connsiteX4" fmla="*/ 0 w 1732559"/>
              <a:gd name="connsiteY4" fmla="*/ 0 h 3598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2559" h="3598515">
                <a:moveTo>
                  <a:pt x="0" y="0"/>
                </a:moveTo>
                <a:lnTo>
                  <a:pt x="1732559" y="0"/>
                </a:lnTo>
                <a:lnTo>
                  <a:pt x="1732559" y="3295503"/>
                </a:lnTo>
                <a:lnTo>
                  <a:pt x="0" y="3598515"/>
                </a:lnTo>
                <a:lnTo>
                  <a:pt x="0" y="0"/>
                </a:lnTo>
                <a:close/>
              </a:path>
            </a:pathLst>
          </a:custGeom>
        </p:spPr>
      </p:pic>
      <p:pic>
        <p:nvPicPr>
          <p:cNvPr id="58" name="Picture 57">
            <a:extLst>
              <a:ext uri="{FF2B5EF4-FFF2-40B4-BE49-F238E27FC236}">
                <a16:creationId xmlns:a16="http://schemas.microsoft.com/office/drawing/2014/main" id="{C88C2AA4-19E7-3C12-6A01-74D111A08389}"/>
              </a:ext>
            </a:extLst>
          </p:cNvPr>
          <p:cNvPicPr>
            <a:picLocks noChangeAspect="1"/>
          </p:cNvPicPr>
          <p:nvPr/>
        </p:nvPicPr>
        <p:blipFill>
          <a:blip r:embed="rId6">
            <a:extLst>
              <a:ext uri="{28A0092B-C50C-407E-A947-70E740481C1C}">
                <a14:useLocalDpi xmlns:a14="http://schemas.microsoft.com/office/drawing/2010/main" val="0"/>
              </a:ext>
            </a:extLst>
          </a:blip>
          <a:srcRect l="43401" r="20732" b="77973"/>
          <a:stretch>
            <a:fillRect/>
          </a:stretch>
        </p:blipFill>
        <p:spPr>
          <a:xfrm>
            <a:off x="7834427" y="0"/>
            <a:ext cx="2427106" cy="1505565"/>
          </a:xfrm>
          <a:custGeom>
            <a:avLst/>
            <a:gdLst>
              <a:gd name="connsiteX0" fmla="*/ 0 w 2427106"/>
              <a:gd name="connsiteY0" fmla="*/ 0 h 1510582"/>
              <a:gd name="connsiteX1" fmla="*/ 2427106 w 2427106"/>
              <a:gd name="connsiteY1" fmla="*/ 0 h 1510582"/>
              <a:gd name="connsiteX2" fmla="*/ 2427106 w 2427106"/>
              <a:gd name="connsiteY2" fmla="*/ 1096857 h 1510582"/>
              <a:gd name="connsiteX3" fmla="*/ 0 w 2427106"/>
              <a:gd name="connsiteY3" fmla="*/ 1510582 h 1510582"/>
              <a:gd name="connsiteX4" fmla="*/ 0 w 2427106"/>
              <a:gd name="connsiteY4" fmla="*/ 0 h 151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106" h="1510582">
                <a:moveTo>
                  <a:pt x="0" y="0"/>
                </a:moveTo>
                <a:lnTo>
                  <a:pt x="2427106" y="0"/>
                </a:lnTo>
                <a:lnTo>
                  <a:pt x="2427106" y="1096857"/>
                </a:lnTo>
                <a:lnTo>
                  <a:pt x="0" y="1510582"/>
                </a:lnTo>
                <a:lnTo>
                  <a:pt x="0" y="0"/>
                </a:lnTo>
                <a:close/>
              </a:path>
            </a:pathLst>
          </a:custGeom>
        </p:spPr>
      </p:pic>
      <p:sp>
        <p:nvSpPr>
          <p:cNvPr id="85" name="Google Shape;129;p12">
            <a:extLst>
              <a:ext uri="{FF2B5EF4-FFF2-40B4-BE49-F238E27FC236}">
                <a16:creationId xmlns:a16="http://schemas.microsoft.com/office/drawing/2014/main" id="{9BD98FBE-4656-CA20-37C8-62576C6AF1EC}"/>
              </a:ext>
            </a:extLst>
          </p:cNvPr>
          <p:cNvSpPr/>
          <p:nvPr/>
        </p:nvSpPr>
        <p:spPr>
          <a:xfrm>
            <a:off x="5767230" y="4209"/>
            <a:ext cx="1877791" cy="1187130"/>
          </a:xfrm>
          <a:custGeom>
            <a:avLst/>
            <a:gdLst>
              <a:gd name="connsiteX0" fmla="*/ 0 w 21600"/>
              <a:gd name="connsiteY0" fmla="*/ 25634 h 25634"/>
              <a:gd name="connsiteX1" fmla="*/ 21600 w 21600"/>
              <a:gd name="connsiteY1" fmla="*/ 19177 h 25634"/>
              <a:gd name="connsiteX2" fmla="*/ 21600 w 21600"/>
              <a:gd name="connsiteY2" fmla="*/ 0 h 25634"/>
              <a:gd name="connsiteX3" fmla="*/ 0 w 21600"/>
              <a:gd name="connsiteY3" fmla="*/ 2423 h 25634"/>
              <a:gd name="connsiteX4" fmla="*/ 0 w 21600"/>
              <a:gd name="connsiteY4" fmla="*/ 25634 h 25634"/>
              <a:gd name="connsiteX0" fmla="*/ 0 w 21600"/>
              <a:gd name="connsiteY0" fmla="*/ 25634 h 25634"/>
              <a:gd name="connsiteX1" fmla="*/ 21600 w 21600"/>
              <a:gd name="connsiteY1" fmla="*/ 19177 h 25634"/>
              <a:gd name="connsiteX2" fmla="*/ 21600 w 21600"/>
              <a:gd name="connsiteY2" fmla="*/ 0 h 25634"/>
              <a:gd name="connsiteX3" fmla="*/ 0 w 21600"/>
              <a:gd name="connsiteY3" fmla="*/ 88 h 25634"/>
              <a:gd name="connsiteX4" fmla="*/ 0 w 21600"/>
              <a:gd name="connsiteY4" fmla="*/ 25634 h 25634"/>
              <a:gd name="connsiteX0" fmla="*/ 0 w 21600"/>
              <a:gd name="connsiteY0" fmla="*/ 25634 h 25634"/>
              <a:gd name="connsiteX1" fmla="*/ 21600 w 21600"/>
              <a:gd name="connsiteY1" fmla="*/ 19808 h 25634"/>
              <a:gd name="connsiteX2" fmla="*/ 21600 w 21600"/>
              <a:gd name="connsiteY2" fmla="*/ 0 h 25634"/>
              <a:gd name="connsiteX3" fmla="*/ 0 w 21600"/>
              <a:gd name="connsiteY3" fmla="*/ 88 h 25634"/>
              <a:gd name="connsiteX4" fmla="*/ 0 w 21600"/>
              <a:gd name="connsiteY4" fmla="*/ 25634 h 25634"/>
              <a:gd name="connsiteX0" fmla="*/ 0 w 21600"/>
              <a:gd name="connsiteY0" fmla="*/ 25634 h 25634"/>
              <a:gd name="connsiteX1" fmla="*/ 21444 w 21600"/>
              <a:gd name="connsiteY1" fmla="*/ 18265 h 25634"/>
              <a:gd name="connsiteX2" fmla="*/ 21600 w 21600"/>
              <a:gd name="connsiteY2" fmla="*/ 0 h 25634"/>
              <a:gd name="connsiteX3" fmla="*/ 0 w 21600"/>
              <a:gd name="connsiteY3" fmla="*/ 88 h 25634"/>
              <a:gd name="connsiteX4" fmla="*/ 0 w 21600"/>
              <a:gd name="connsiteY4" fmla="*/ 25634 h 25634"/>
              <a:gd name="connsiteX0" fmla="*/ 0 w 21600"/>
              <a:gd name="connsiteY0" fmla="*/ 25634 h 25634"/>
              <a:gd name="connsiteX1" fmla="*/ 21366 w 21600"/>
              <a:gd name="connsiteY1" fmla="*/ 18967 h 25634"/>
              <a:gd name="connsiteX2" fmla="*/ 21600 w 21600"/>
              <a:gd name="connsiteY2" fmla="*/ 0 h 25634"/>
              <a:gd name="connsiteX3" fmla="*/ 0 w 21600"/>
              <a:gd name="connsiteY3" fmla="*/ 88 h 25634"/>
              <a:gd name="connsiteX4" fmla="*/ 0 w 21600"/>
              <a:gd name="connsiteY4" fmla="*/ 25634 h 25634"/>
              <a:gd name="connsiteX0" fmla="*/ 156 w 21600"/>
              <a:gd name="connsiteY0" fmla="*/ 25494 h 25494"/>
              <a:gd name="connsiteX1" fmla="*/ 21366 w 21600"/>
              <a:gd name="connsiteY1" fmla="*/ 18967 h 25494"/>
              <a:gd name="connsiteX2" fmla="*/ 21600 w 21600"/>
              <a:gd name="connsiteY2" fmla="*/ 0 h 25494"/>
              <a:gd name="connsiteX3" fmla="*/ 0 w 21600"/>
              <a:gd name="connsiteY3" fmla="*/ 88 h 25494"/>
              <a:gd name="connsiteX4" fmla="*/ 156 w 21600"/>
              <a:gd name="connsiteY4" fmla="*/ 25494 h 25494"/>
              <a:gd name="connsiteX0" fmla="*/ 0 w 21669"/>
              <a:gd name="connsiteY0" fmla="*/ 25915 h 25915"/>
              <a:gd name="connsiteX1" fmla="*/ 21435 w 21669"/>
              <a:gd name="connsiteY1" fmla="*/ 18967 h 25915"/>
              <a:gd name="connsiteX2" fmla="*/ 21669 w 21669"/>
              <a:gd name="connsiteY2" fmla="*/ 0 h 25915"/>
              <a:gd name="connsiteX3" fmla="*/ 69 w 21669"/>
              <a:gd name="connsiteY3" fmla="*/ 88 h 25915"/>
              <a:gd name="connsiteX4" fmla="*/ 0 w 21669"/>
              <a:gd name="connsiteY4" fmla="*/ 25915 h 25915"/>
              <a:gd name="connsiteX0" fmla="*/ 0 w 21642"/>
              <a:gd name="connsiteY0" fmla="*/ 26231 h 26231"/>
              <a:gd name="connsiteX1" fmla="*/ 21408 w 21642"/>
              <a:gd name="connsiteY1" fmla="*/ 18967 h 26231"/>
              <a:gd name="connsiteX2" fmla="*/ 21642 w 21642"/>
              <a:gd name="connsiteY2" fmla="*/ 0 h 26231"/>
              <a:gd name="connsiteX3" fmla="*/ 42 w 21642"/>
              <a:gd name="connsiteY3" fmla="*/ 88 h 26231"/>
              <a:gd name="connsiteX4" fmla="*/ 0 w 21642"/>
              <a:gd name="connsiteY4" fmla="*/ 26231 h 26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2" h="26231" extrusionOk="0">
                <a:moveTo>
                  <a:pt x="0" y="26231"/>
                </a:moveTo>
                <a:lnTo>
                  <a:pt x="21408" y="18967"/>
                </a:lnTo>
                <a:lnTo>
                  <a:pt x="21642" y="0"/>
                </a:lnTo>
                <a:lnTo>
                  <a:pt x="42" y="88"/>
                </a:lnTo>
                <a:cubicBezTo>
                  <a:pt x="28" y="8802"/>
                  <a:pt x="14" y="17517"/>
                  <a:pt x="0" y="26231"/>
                </a:cubicBezTo>
                <a:close/>
              </a:path>
            </a:pathLst>
          </a:custGeom>
          <a:solidFill>
            <a:srgbClr val="FFFFFF"/>
          </a:solidFill>
          <a:ln>
            <a:noFill/>
          </a:ln>
        </p:spPr>
        <p:txBody>
          <a:bodyPr spcFirstLastPara="1" wrap="square" lIns="60933" tIns="60933" rIns="60933" bIns="60933"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800"/>
              <a:buFontTx/>
              <a:buNone/>
              <a:tabLst/>
              <a:defRPr/>
            </a:pPr>
            <a:endParaRPr kumimoji="0" lang="en-GB" sz="2400" b="0" i="0" u="none" strike="noStrike" kern="0" cap="none" spc="0" normalizeH="0" baseline="0" noProof="0">
              <a:ln>
                <a:noFill/>
              </a:ln>
              <a:solidFill>
                <a:srgbClr val="000000"/>
              </a:solidFill>
              <a:effectLst/>
              <a:uLnTx/>
              <a:uFillTx/>
              <a:latin typeface="Poppins" panose="00000500000000000000" pitchFamily="2" charset="0"/>
              <a:ea typeface="Calibri"/>
              <a:cs typeface="Poppins" panose="00000500000000000000" pitchFamily="2" charset="0"/>
              <a:sym typeface="Calibri"/>
            </a:endParaRPr>
          </a:p>
        </p:txBody>
      </p:sp>
      <p:sp>
        <p:nvSpPr>
          <p:cNvPr id="80" name="Rectangle 79">
            <a:extLst>
              <a:ext uri="{FF2B5EF4-FFF2-40B4-BE49-F238E27FC236}">
                <a16:creationId xmlns:a16="http://schemas.microsoft.com/office/drawing/2014/main" id="{4CD092B8-E93F-CD2D-8E5E-82BE17F4EDF9}"/>
              </a:ext>
            </a:extLst>
          </p:cNvPr>
          <p:cNvSpPr/>
          <p:nvPr/>
        </p:nvSpPr>
        <p:spPr>
          <a:xfrm>
            <a:off x="10301056" y="4356227"/>
            <a:ext cx="1315356" cy="250788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2F2F2"/>
              </a:solidFill>
              <a:effectLst/>
              <a:uLnTx/>
              <a:uFillTx/>
              <a:latin typeface="Poppins" panose="00000500000000000000" pitchFamily="2" charset="0"/>
              <a:ea typeface="+mn-ea"/>
              <a:cs typeface="Poppins" panose="00000500000000000000" pitchFamily="2" charset="0"/>
            </a:endParaRPr>
          </a:p>
        </p:txBody>
      </p:sp>
      <p:sp>
        <p:nvSpPr>
          <p:cNvPr id="23" name="Google Shape;129;p12">
            <a:extLst>
              <a:ext uri="{FF2B5EF4-FFF2-40B4-BE49-F238E27FC236}">
                <a16:creationId xmlns:a16="http://schemas.microsoft.com/office/drawing/2014/main" id="{5036FD65-07B4-CC34-ADC1-3C304EA27EC0}"/>
              </a:ext>
            </a:extLst>
          </p:cNvPr>
          <p:cNvSpPr/>
          <p:nvPr/>
        </p:nvSpPr>
        <p:spPr>
          <a:xfrm>
            <a:off x="5822049" y="869307"/>
            <a:ext cx="1743560" cy="2731134"/>
          </a:xfrm>
          <a:custGeom>
            <a:avLst/>
            <a:gdLst>
              <a:gd name="connsiteX0" fmla="*/ 0 w 21600"/>
              <a:gd name="connsiteY0" fmla="*/ 21600 h 21600"/>
              <a:gd name="connsiteX1" fmla="*/ 21600 w 21600"/>
              <a:gd name="connsiteY1" fmla="*/ 18983 h 21600"/>
              <a:gd name="connsiteX2" fmla="*/ 21600 w 21600"/>
              <a:gd name="connsiteY2" fmla="*/ 0 h 21600"/>
              <a:gd name="connsiteX3" fmla="*/ 0 w 21600"/>
              <a:gd name="connsiteY3" fmla="*/ 2423 h 21600"/>
              <a:gd name="connsiteX4" fmla="*/ 0 w 21600"/>
              <a:gd name="connsiteY4" fmla="*/ 21600 h 21600"/>
              <a:gd name="connsiteX0" fmla="*/ 117 w 21600"/>
              <a:gd name="connsiteY0" fmla="*/ 21334 h 21334"/>
              <a:gd name="connsiteX1" fmla="*/ 21600 w 21600"/>
              <a:gd name="connsiteY1" fmla="*/ 18983 h 21334"/>
              <a:gd name="connsiteX2" fmla="*/ 21600 w 21600"/>
              <a:gd name="connsiteY2" fmla="*/ 0 h 21334"/>
              <a:gd name="connsiteX3" fmla="*/ 0 w 21600"/>
              <a:gd name="connsiteY3" fmla="*/ 2423 h 21334"/>
              <a:gd name="connsiteX4" fmla="*/ 117 w 21600"/>
              <a:gd name="connsiteY4" fmla="*/ 21334 h 21334"/>
              <a:gd name="connsiteX0" fmla="*/ 117 w 21600"/>
              <a:gd name="connsiteY0" fmla="*/ 21261 h 21261"/>
              <a:gd name="connsiteX1" fmla="*/ 21600 w 21600"/>
              <a:gd name="connsiteY1" fmla="*/ 18983 h 21261"/>
              <a:gd name="connsiteX2" fmla="*/ 21600 w 21600"/>
              <a:gd name="connsiteY2" fmla="*/ 0 h 21261"/>
              <a:gd name="connsiteX3" fmla="*/ 0 w 21600"/>
              <a:gd name="connsiteY3" fmla="*/ 2423 h 21261"/>
              <a:gd name="connsiteX4" fmla="*/ 117 w 21600"/>
              <a:gd name="connsiteY4" fmla="*/ 21261 h 21261"/>
              <a:gd name="connsiteX0" fmla="*/ 117 w 21600"/>
              <a:gd name="connsiteY0" fmla="*/ 21261 h 21261"/>
              <a:gd name="connsiteX1" fmla="*/ 21600 w 21600"/>
              <a:gd name="connsiteY1" fmla="*/ 18983 h 21261"/>
              <a:gd name="connsiteX2" fmla="*/ 21600 w 21600"/>
              <a:gd name="connsiteY2" fmla="*/ 0 h 21261"/>
              <a:gd name="connsiteX3" fmla="*/ 0 w 21600"/>
              <a:gd name="connsiteY3" fmla="*/ 2423 h 21261"/>
              <a:gd name="connsiteX4" fmla="*/ 117 w 21600"/>
              <a:gd name="connsiteY4" fmla="*/ 21261 h 21261"/>
              <a:gd name="connsiteX0" fmla="*/ 0 w 21483"/>
              <a:gd name="connsiteY0" fmla="*/ 21261 h 21261"/>
              <a:gd name="connsiteX1" fmla="*/ 21483 w 21483"/>
              <a:gd name="connsiteY1" fmla="*/ 18983 h 21261"/>
              <a:gd name="connsiteX2" fmla="*/ 21483 w 21483"/>
              <a:gd name="connsiteY2" fmla="*/ 0 h 21261"/>
              <a:gd name="connsiteX3" fmla="*/ 196 w 21483"/>
              <a:gd name="connsiteY3" fmla="*/ 2835 h 21261"/>
              <a:gd name="connsiteX4" fmla="*/ 0 w 21483"/>
              <a:gd name="connsiteY4" fmla="*/ 21261 h 21261"/>
              <a:gd name="connsiteX0" fmla="*/ 0 w 21483"/>
              <a:gd name="connsiteY0" fmla="*/ 20728 h 20728"/>
              <a:gd name="connsiteX1" fmla="*/ 21483 w 21483"/>
              <a:gd name="connsiteY1" fmla="*/ 18450 h 20728"/>
              <a:gd name="connsiteX2" fmla="*/ 21483 w 21483"/>
              <a:gd name="connsiteY2" fmla="*/ 0 h 20728"/>
              <a:gd name="connsiteX3" fmla="*/ 196 w 21483"/>
              <a:gd name="connsiteY3" fmla="*/ 2302 h 20728"/>
              <a:gd name="connsiteX4" fmla="*/ 0 w 21483"/>
              <a:gd name="connsiteY4" fmla="*/ 20728 h 20728"/>
              <a:gd name="connsiteX0" fmla="*/ 0 w 21483"/>
              <a:gd name="connsiteY0" fmla="*/ 20825 h 20825"/>
              <a:gd name="connsiteX1" fmla="*/ 21483 w 21483"/>
              <a:gd name="connsiteY1" fmla="*/ 18547 h 20825"/>
              <a:gd name="connsiteX2" fmla="*/ 21483 w 21483"/>
              <a:gd name="connsiteY2" fmla="*/ 0 h 20825"/>
              <a:gd name="connsiteX3" fmla="*/ 196 w 21483"/>
              <a:gd name="connsiteY3" fmla="*/ 2399 h 20825"/>
              <a:gd name="connsiteX4" fmla="*/ 0 w 21483"/>
              <a:gd name="connsiteY4" fmla="*/ 20825 h 20825"/>
              <a:gd name="connsiteX0" fmla="*/ 0 w 21483"/>
              <a:gd name="connsiteY0" fmla="*/ 20825 h 20825"/>
              <a:gd name="connsiteX1" fmla="*/ 21483 w 21483"/>
              <a:gd name="connsiteY1" fmla="*/ 18547 h 20825"/>
              <a:gd name="connsiteX2" fmla="*/ 21483 w 21483"/>
              <a:gd name="connsiteY2" fmla="*/ 0 h 20825"/>
              <a:gd name="connsiteX3" fmla="*/ 196 w 21483"/>
              <a:gd name="connsiteY3" fmla="*/ 2351 h 20825"/>
              <a:gd name="connsiteX4" fmla="*/ 0 w 21483"/>
              <a:gd name="connsiteY4" fmla="*/ 20825 h 20825"/>
              <a:gd name="connsiteX0" fmla="*/ 0 w 21483"/>
              <a:gd name="connsiteY0" fmla="*/ 20825 h 20825"/>
              <a:gd name="connsiteX1" fmla="*/ 21483 w 21483"/>
              <a:gd name="connsiteY1" fmla="*/ 18547 h 20825"/>
              <a:gd name="connsiteX2" fmla="*/ 21483 w 21483"/>
              <a:gd name="connsiteY2" fmla="*/ 0 h 20825"/>
              <a:gd name="connsiteX3" fmla="*/ 157 w 21483"/>
              <a:gd name="connsiteY3" fmla="*/ 2351 h 20825"/>
              <a:gd name="connsiteX4" fmla="*/ 0 w 21483"/>
              <a:gd name="connsiteY4" fmla="*/ 20825 h 20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83" h="20825" extrusionOk="0">
                <a:moveTo>
                  <a:pt x="0" y="20825"/>
                </a:moveTo>
                <a:lnTo>
                  <a:pt x="21483" y="18547"/>
                </a:lnTo>
                <a:lnTo>
                  <a:pt x="21483" y="0"/>
                </a:lnTo>
                <a:lnTo>
                  <a:pt x="157" y="2351"/>
                </a:lnTo>
                <a:cubicBezTo>
                  <a:pt x="92" y="8493"/>
                  <a:pt x="65" y="14683"/>
                  <a:pt x="0" y="20825"/>
                </a:cubicBezTo>
                <a:close/>
              </a:path>
            </a:pathLst>
          </a:custGeom>
          <a:solidFill>
            <a:srgbClr val="6BB4DA">
              <a:alpha val="46000"/>
            </a:srgbClr>
          </a:solidFill>
          <a:ln>
            <a:noFill/>
          </a:ln>
        </p:spPr>
        <p:txBody>
          <a:bodyPr spcFirstLastPara="1" wrap="square" lIns="60933" tIns="60933" rIns="60933" bIns="60933"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800"/>
              <a:buFontTx/>
              <a:buNone/>
              <a:tabLst/>
              <a:defRPr/>
            </a:pPr>
            <a:endParaRPr kumimoji="0" lang="en-GB" sz="2400" b="0" i="0" u="none" strike="noStrike" kern="0" cap="none" spc="0" normalizeH="0" baseline="0" noProof="0">
              <a:ln>
                <a:noFill/>
              </a:ln>
              <a:solidFill>
                <a:srgbClr val="000000"/>
              </a:solidFill>
              <a:effectLst/>
              <a:uLnTx/>
              <a:uFillTx/>
              <a:latin typeface="Poppins" panose="00000500000000000000" pitchFamily="2" charset="0"/>
              <a:ea typeface="Calibri"/>
              <a:cs typeface="Poppins" panose="00000500000000000000" pitchFamily="2" charset="0"/>
              <a:sym typeface="Calibri"/>
            </a:endParaRPr>
          </a:p>
        </p:txBody>
      </p:sp>
      <p:pic>
        <p:nvPicPr>
          <p:cNvPr id="27" name="Picture 26">
            <a:extLst>
              <a:ext uri="{FF2B5EF4-FFF2-40B4-BE49-F238E27FC236}">
                <a16:creationId xmlns:a16="http://schemas.microsoft.com/office/drawing/2014/main" id="{C2E0D4B7-B203-7FE2-079C-A452D0B6B6A9}"/>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a:xfrm>
            <a:off x="4725231" y="0"/>
            <a:ext cx="6883814" cy="6858000"/>
          </a:xfrm>
          <a:custGeom>
            <a:avLst/>
            <a:gdLst>
              <a:gd name="connsiteX0" fmla="*/ 141714 w 6883814"/>
              <a:gd name="connsiteY0" fmla="*/ 6726411 h 6858000"/>
              <a:gd name="connsiteX1" fmla="*/ 142357 w 6883814"/>
              <a:gd name="connsiteY1" fmla="*/ 6857999 h 6858000"/>
              <a:gd name="connsiteX2" fmla="*/ 872634 w 6883814"/>
              <a:gd name="connsiteY2" fmla="*/ 6857999 h 6858000"/>
              <a:gd name="connsiteX3" fmla="*/ 872634 w 6883814"/>
              <a:gd name="connsiteY3" fmla="*/ 6858000 h 6858000"/>
              <a:gd name="connsiteX4" fmla="*/ 0 w 6883814"/>
              <a:gd name="connsiteY4" fmla="*/ 6858000 h 6858000"/>
              <a:gd name="connsiteX5" fmla="*/ 0 w 6883814"/>
              <a:gd name="connsiteY5" fmla="*/ 6857999 h 6858000"/>
              <a:gd name="connsiteX6" fmla="*/ 141714 w 6883814"/>
              <a:gd name="connsiteY6" fmla="*/ 6857999 h 6858000"/>
              <a:gd name="connsiteX7" fmla="*/ 6883814 w 6883814"/>
              <a:gd name="connsiteY7" fmla="*/ 4163016 h 6858000"/>
              <a:gd name="connsiteX8" fmla="*/ 6883814 w 6883814"/>
              <a:gd name="connsiteY8" fmla="*/ 5716567 h 6858000"/>
              <a:gd name="connsiteX9" fmla="*/ 6881972 w 6883814"/>
              <a:gd name="connsiteY9" fmla="*/ 5717623 h 6858000"/>
              <a:gd name="connsiteX10" fmla="*/ 6881972 w 6883814"/>
              <a:gd name="connsiteY10" fmla="*/ 5715517 h 6858000"/>
              <a:gd name="connsiteX11" fmla="*/ 5716182 w 6883814"/>
              <a:gd name="connsiteY11" fmla="*/ 5928691 h 6858000"/>
              <a:gd name="connsiteX12" fmla="*/ 5716182 w 6883814"/>
              <a:gd name="connsiteY12" fmla="*/ 4568230 h 6858000"/>
              <a:gd name="connsiteX13" fmla="*/ 6883497 w 6883814"/>
              <a:gd name="connsiteY13" fmla="*/ 4360795 h 6858000"/>
              <a:gd name="connsiteX14" fmla="*/ 6883814 w 6883814"/>
              <a:gd name="connsiteY14" fmla="*/ 4163016 h 6858000"/>
              <a:gd name="connsiteX15" fmla="*/ 2833154 w 6883814"/>
              <a:gd name="connsiteY15" fmla="*/ 3547668 h 6858000"/>
              <a:gd name="connsiteX16" fmla="*/ 2833154 w 6883814"/>
              <a:gd name="connsiteY16" fmla="*/ 6858000 h 6858000"/>
              <a:gd name="connsiteX17" fmla="*/ 1100595 w 6883814"/>
              <a:gd name="connsiteY17" fmla="*/ 6858000 h 6858000"/>
              <a:gd name="connsiteX18" fmla="*/ 1100595 w 6883814"/>
              <a:gd name="connsiteY18" fmla="*/ 3859618 h 6858000"/>
              <a:gd name="connsiteX19" fmla="*/ 5488221 w 6883814"/>
              <a:gd name="connsiteY19" fmla="*/ 1335152 h 6858000"/>
              <a:gd name="connsiteX20" fmla="*/ 5488221 w 6883814"/>
              <a:gd name="connsiteY20" fmla="*/ 6858000 h 6858000"/>
              <a:gd name="connsiteX21" fmla="*/ 3061115 w 6883814"/>
              <a:gd name="connsiteY21" fmla="*/ 6858000 h 6858000"/>
              <a:gd name="connsiteX22" fmla="*/ 3061115 w 6883814"/>
              <a:gd name="connsiteY22" fmla="*/ 1778627 h 6858000"/>
              <a:gd name="connsiteX23" fmla="*/ 6883814 w 6883814"/>
              <a:gd name="connsiteY23" fmla="*/ 299122 h 6858000"/>
              <a:gd name="connsiteX24" fmla="*/ 6883814 w 6883814"/>
              <a:gd name="connsiteY24" fmla="*/ 4163016 h 6858000"/>
              <a:gd name="connsiteX25" fmla="*/ 5716182 w 6883814"/>
              <a:gd name="connsiteY25" fmla="*/ 4365300 h 6858000"/>
              <a:gd name="connsiteX26" fmla="*/ 5716182 w 6883814"/>
              <a:gd name="connsiteY26" fmla="*/ 648839 h 6858000"/>
              <a:gd name="connsiteX27" fmla="*/ 6883497 w 6883814"/>
              <a:gd name="connsiteY27" fmla="*/ 487407 h 6858000"/>
              <a:gd name="connsiteX28" fmla="*/ 6883814 w 6883814"/>
              <a:gd name="connsiteY28" fmla="*/ 299122 h 6858000"/>
              <a:gd name="connsiteX29" fmla="*/ 5713665 w 6883814"/>
              <a:gd name="connsiteY29" fmla="*/ 0 h 6858000"/>
              <a:gd name="connsiteX30" fmla="*/ 6883814 w 6883814"/>
              <a:gd name="connsiteY30" fmla="*/ 0 h 6858000"/>
              <a:gd name="connsiteX31" fmla="*/ 6883814 w 6883814"/>
              <a:gd name="connsiteY31" fmla="*/ 299122 h 6858000"/>
              <a:gd name="connsiteX32" fmla="*/ 5716182 w 6883814"/>
              <a:gd name="connsiteY32" fmla="*/ 444631 h 6858000"/>
              <a:gd name="connsiteX33" fmla="*/ 5716182 w 6883814"/>
              <a:gd name="connsiteY33" fmla="*/ 22779 h 6858000"/>
              <a:gd name="connsiteX34" fmla="*/ 5713665 w 6883814"/>
              <a:gd name="connsiteY34" fmla="*/ 22779 h 6858000"/>
              <a:gd name="connsiteX35" fmla="*/ 3109196 w 6883814"/>
              <a:gd name="connsiteY35" fmla="*/ 0 h 6858000"/>
              <a:gd name="connsiteX36" fmla="*/ 5536302 w 6883814"/>
              <a:gd name="connsiteY36" fmla="*/ 0 h 6858000"/>
              <a:gd name="connsiteX37" fmla="*/ 5536302 w 6883814"/>
              <a:gd name="connsiteY37" fmla="*/ 22779 h 6858000"/>
              <a:gd name="connsiteX38" fmla="*/ 3109196 w 6883814"/>
              <a:gd name="connsiteY38" fmla="*/ 22779 h 6858000"/>
              <a:gd name="connsiteX39" fmla="*/ 141714 w 6883814"/>
              <a:gd name="connsiteY39" fmla="*/ 0 h 6858000"/>
              <a:gd name="connsiteX40" fmla="*/ 872025 w 6883814"/>
              <a:gd name="connsiteY40" fmla="*/ 0 h 6858000"/>
              <a:gd name="connsiteX41" fmla="*/ 872025 w 6883814"/>
              <a:gd name="connsiteY41" fmla="*/ 596752 h 6858000"/>
              <a:gd name="connsiteX42" fmla="*/ 872634 w 6883814"/>
              <a:gd name="connsiteY42" fmla="*/ 596752 h 6858000"/>
              <a:gd name="connsiteX43" fmla="*/ 872634 w 6883814"/>
              <a:gd name="connsiteY43" fmla="*/ 2144289 h 6858000"/>
              <a:gd name="connsiteX44" fmla="*/ 141714 w 6883814"/>
              <a:gd name="connsiteY44" fmla="*/ 22998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883814" h="6858000">
                <a:moveTo>
                  <a:pt x="141714" y="6726411"/>
                </a:moveTo>
                <a:lnTo>
                  <a:pt x="142357" y="6857999"/>
                </a:lnTo>
                <a:lnTo>
                  <a:pt x="872634" y="6857999"/>
                </a:lnTo>
                <a:lnTo>
                  <a:pt x="872634" y="6858000"/>
                </a:lnTo>
                <a:lnTo>
                  <a:pt x="0" y="6858000"/>
                </a:lnTo>
                <a:lnTo>
                  <a:pt x="0" y="6857999"/>
                </a:lnTo>
                <a:lnTo>
                  <a:pt x="141714" y="6857999"/>
                </a:lnTo>
                <a:close/>
                <a:moveTo>
                  <a:pt x="6883814" y="4163016"/>
                </a:moveTo>
                <a:lnTo>
                  <a:pt x="6883814" y="5716567"/>
                </a:lnTo>
                <a:lnTo>
                  <a:pt x="6881972" y="5717623"/>
                </a:lnTo>
                <a:lnTo>
                  <a:pt x="6881972" y="5715517"/>
                </a:lnTo>
                <a:lnTo>
                  <a:pt x="5716182" y="5928691"/>
                </a:lnTo>
                <a:lnTo>
                  <a:pt x="5716182" y="4568230"/>
                </a:lnTo>
                <a:lnTo>
                  <a:pt x="6883497" y="4360795"/>
                </a:lnTo>
                <a:cubicBezTo>
                  <a:pt x="6883814" y="4289278"/>
                  <a:pt x="6883497" y="4234533"/>
                  <a:pt x="6883814" y="4163016"/>
                </a:cubicBezTo>
                <a:close/>
                <a:moveTo>
                  <a:pt x="2833154" y="3547668"/>
                </a:moveTo>
                <a:lnTo>
                  <a:pt x="2833154" y="6858000"/>
                </a:lnTo>
                <a:lnTo>
                  <a:pt x="1100595" y="6858000"/>
                </a:lnTo>
                <a:lnTo>
                  <a:pt x="1100595" y="3859618"/>
                </a:lnTo>
                <a:close/>
                <a:moveTo>
                  <a:pt x="5488221" y="1335152"/>
                </a:moveTo>
                <a:lnTo>
                  <a:pt x="5488221" y="6858000"/>
                </a:lnTo>
                <a:lnTo>
                  <a:pt x="3061115" y="6858000"/>
                </a:lnTo>
                <a:lnTo>
                  <a:pt x="3061115" y="1778627"/>
                </a:lnTo>
                <a:close/>
                <a:moveTo>
                  <a:pt x="6883814" y="299122"/>
                </a:moveTo>
                <a:lnTo>
                  <a:pt x="6883814" y="4163016"/>
                </a:lnTo>
                <a:lnTo>
                  <a:pt x="5716182" y="4365300"/>
                </a:lnTo>
                <a:lnTo>
                  <a:pt x="5716182" y="648839"/>
                </a:lnTo>
                <a:lnTo>
                  <a:pt x="6883497" y="487407"/>
                </a:lnTo>
                <a:cubicBezTo>
                  <a:pt x="6883814" y="415890"/>
                  <a:pt x="6883497" y="370639"/>
                  <a:pt x="6883814" y="299122"/>
                </a:cubicBezTo>
                <a:close/>
                <a:moveTo>
                  <a:pt x="5713665" y="0"/>
                </a:moveTo>
                <a:lnTo>
                  <a:pt x="6883814" y="0"/>
                </a:lnTo>
                <a:lnTo>
                  <a:pt x="6883814" y="299122"/>
                </a:lnTo>
                <a:lnTo>
                  <a:pt x="5716182" y="444631"/>
                </a:lnTo>
                <a:lnTo>
                  <a:pt x="5716182" y="22779"/>
                </a:lnTo>
                <a:lnTo>
                  <a:pt x="5713665" y="22779"/>
                </a:lnTo>
                <a:close/>
                <a:moveTo>
                  <a:pt x="3109196" y="0"/>
                </a:moveTo>
                <a:lnTo>
                  <a:pt x="5536302" y="0"/>
                </a:lnTo>
                <a:lnTo>
                  <a:pt x="5536302" y="22779"/>
                </a:lnTo>
                <a:lnTo>
                  <a:pt x="3109196" y="22779"/>
                </a:lnTo>
                <a:close/>
                <a:moveTo>
                  <a:pt x="141714" y="0"/>
                </a:moveTo>
                <a:lnTo>
                  <a:pt x="872025" y="0"/>
                </a:lnTo>
                <a:lnTo>
                  <a:pt x="872025" y="596752"/>
                </a:lnTo>
                <a:lnTo>
                  <a:pt x="872634" y="596752"/>
                </a:lnTo>
                <a:lnTo>
                  <a:pt x="872634" y="2144289"/>
                </a:lnTo>
                <a:lnTo>
                  <a:pt x="141714" y="2299821"/>
                </a:lnTo>
                <a:close/>
              </a:path>
            </a:pathLst>
          </a:custGeom>
        </p:spPr>
      </p:pic>
      <p:sp>
        <p:nvSpPr>
          <p:cNvPr id="31" name="Google Shape;130;p12">
            <a:extLst>
              <a:ext uri="{FF2B5EF4-FFF2-40B4-BE49-F238E27FC236}">
                <a16:creationId xmlns:a16="http://schemas.microsoft.com/office/drawing/2014/main" id="{1B22CCBD-F30B-BEEB-B365-9E7A391B88F6}"/>
              </a:ext>
            </a:extLst>
          </p:cNvPr>
          <p:cNvSpPr/>
          <p:nvPr/>
        </p:nvSpPr>
        <p:spPr>
          <a:xfrm>
            <a:off x="10438896" y="4361000"/>
            <a:ext cx="1173093" cy="1567329"/>
          </a:xfrm>
          <a:custGeom>
            <a:avLst/>
            <a:gdLst>
              <a:gd name="connsiteX0" fmla="*/ 0 w 21600"/>
              <a:gd name="connsiteY0" fmla="*/ 21469 h 21469"/>
              <a:gd name="connsiteX1" fmla="*/ 21600 w 21600"/>
              <a:gd name="connsiteY1" fmla="*/ 18480 h 21469"/>
              <a:gd name="connsiteX2" fmla="*/ 21254 w 21600"/>
              <a:gd name="connsiteY2" fmla="*/ 0 h 21469"/>
              <a:gd name="connsiteX3" fmla="*/ 0 w 21600"/>
              <a:gd name="connsiteY3" fmla="*/ 2858 h 21469"/>
              <a:gd name="connsiteX4" fmla="*/ 0 w 21600"/>
              <a:gd name="connsiteY4" fmla="*/ 21469 h 21469"/>
              <a:gd name="connsiteX0" fmla="*/ 0 w 21341"/>
              <a:gd name="connsiteY0" fmla="*/ 21469 h 21469"/>
              <a:gd name="connsiteX1" fmla="*/ 21341 w 21341"/>
              <a:gd name="connsiteY1" fmla="*/ 18676 h 21469"/>
              <a:gd name="connsiteX2" fmla="*/ 21254 w 21341"/>
              <a:gd name="connsiteY2" fmla="*/ 0 h 21469"/>
              <a:gd name="connsiteX3" fmla="*/ 0 w 21341"/>
              <a:gd name="connsiteY3" fmla="*/ 2858 h 21469"/>
              <a:gd name="connsiteX4" fmla="*/ 0 w 21341"/>
              <a:gd name="connsiteY4" fmla="*/ 21469 h 21469"/>
              <a:gd name="connsiteX0" fmla="*/ 0 w 21341"/>
              <a:gd name="connsiteY0" fmla="*/ 21469 h 21469"/>
              <a:gd name="connsiteX1" fmla="*/ 21341 w 21341"/>
              <a:gd name="connsiteY1" fmla="*/ 18611 h 21469"/>
              <a:gd name="connsiteX2" fmla="*/ 21254 w 21341"/>
              <a:gd name="connsiteY2" fmla="*/ 0 h 21469"/>
              <a:gd name="connsiteX3" fmla="*/ 0 w 21341"/>
              <a:gd name="connsiteY3" fmla="*/ 2858 h 21469"/>
              <a:gd name="connsiteX4" fmla="*/ 0 w 21341"/>
              <a:gd name="connsiteY4" fmla="*/ 21469 h 21469"/>
              <a:gd name="connsiteX0" fmla="*/ 216 w 21341"/>
              <a:gd name="connsiteY0" fmla="*/ 21534 h 21534"/>
              <a:gd name="connsiteX1" fmla="*/ 21341 w 21341"/>
              <a:gd name="connsiteY1" fmla="*/ 18611 h 21534"/>
              <a:gd name="connsiteX2" fmla="*/ 21254 w 21341"/>
              <a:gd name="connsiteY2" fmla="*/ 0 h 21534"/>
              <a:gd name="connsiteX3" fmla="*/ 0 w 21341"/>
              <a:gd name="connsiteY3" fmla="*/ 2858 h 21534"/>
              <a:gd name="connsiteX4" fmla="*/ 216 w 21341"/>
              <a:gd name="connsiteY4" fmla="*/ 21534 h 21534"/>
              <a:gd name="connsiteX0" fmla="*/ 130 w 21255"/>
              <a:gd name="connsiteY0" fmla="*/ 21534 h 21534"/>
              <a:gd name="connsiteX1" fmla="*/ 21255 w 21255"/>
              <a:gd name="connsiteY1" fmla="*/ 18611 h 21534"/>
              <a:gd name="connsiteX2" fmla="*/ 21168 w 21255"/>
              <a:gd name="connsiteY2" fmla="*/ 0 h 21534"/>
              <a:gd name="connsiteX3" fmla="*/ 0 w 21255"/>
              <a:gd name="connsiteY3" fmla="*/ 2858 h 21534"/>
              <a:gd name="connsiteX4" fmla="*/ 130 w 21255"/>
              <a:gd name="connsiteY4" fmla="*/ 21534 h 21534"/>
              <a:gd name="connsiteX0" fmla="*/ 130 w 21255"/>
              <a:gd name="connsiteY0" fmla="*/ 21534 h 21534"/>
              <a:gd name="connsiteX1" fmla="*/ 21255 w 21255"/>
              <a:gd name="connsiteY1" fmla="*/ 18611 h 21534"/>
              <a:gd name="connsiteX2" fmla="*/ 21168 w 21255"/>
              <a:gd name="connsiteY2" fmla="*/ 0 h 21534"/>
              <a:gd name="connsiteX3" fmla="*/ 0 w 21255"/>
              <a:gd name="connsiteY3" fmla="*/ 2858 h 21534"/>
              <a:gd name="connsiteX4" fmla="*/ 130 w 21255"/>
              <a:gd name="connsiteY4" fmla="*/ 21534 h 21534"/>
              <a:gd name="connsiteX0" fmla="*/ 173 w 21298"/>
              <a:gd name="connsiteY0" fmla="*/ 21534 h 21534"/>
              <a:gd name="connsiteX1" fmla="*/ 21298 w 21298"/>
              <a:gd name="connsiteY1" fmla="*/ 18611 h 21534"/>
              <a:gd name="connsiteX2" fmla="*/ 21211 w 21298"/>
              <a:gd name="connsiteY2" fmla="*/ 0 h 21534"/>
              <a:gd name="connsiteX3" fmla="*/ 0 w 21298"/>
              <a:gd name="connsiteY3" fmla="*/ 2825 h 21534"/>
              <a:gd name="connsiteX4" fmla="*/ 173 w 21298"/>
              <a:gd name="connsiteY4" fmla="*/ 21534 h 21534"/>
              <a:gd name="connsiteX0" fmla="*/ 43 w 21298"/>
              <a:gd name="connsiteY0" fmla="*/ 21534 h 21534"/>
              <a:gd name="connsiteX1" fmla="*/ 21298 w 21298"/>
              <a:gd name="connsiteY1" fmla="*/ 18611 h 21534"/>
              <a:gd name="connsiteX2" fmla="*/ 21211 w 21298"/>
              <a:gd name="connsiteY2" fmla="*/ 0 h 21534"/>
              <a:gd name="connsiteX3" fmla="*/ 0 w 21298"/>
              <a:gd name="connsiteY3" fmla="*/ 2825 h 21534"/>
              <a:gd name="connsiteX4" fmla="*/ 43 w 21298"/>
              <a:gd name="connsiteY4" fmla="*/ 21534 h 21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98" h="21534" extrusionOk="0">
                <a:moveTo>
                  <a:pt x="43" y="21534"/>
                </a:moveTo>
                <a:lnTo>
                  <a:pt x="21298" y="18611"/>
                </a:lnTo>
                <a:cubicBezTo>
                  <a:pt x="21183" y="12451"/>
                  <a:pt x="21326" y="6160"/>
                  <a:pt x="21211" y="0"/>
                </a:cubicBezTo>
                <a:lnTo>
                  <a:pt x="0" y="2825"/>
                </a:lnTo>
                <a:cubicBezTo>
                  <a:pt x="43" y="9050"/>
                  <a:pt x="0" y="15309"/>
                  <a:pt x="43" y="21534"/>
                </a:cubicBezTo>
                <a:close/>
              </a:path>
            </a:pathLst>
          </a:custGeom>
          <a:solidFill>
            <a:srgbClr val="6BB4DA">
              <a:alpha val="48600"/>
            </a:srgbClr>
          </a:solidFill>
          <a:ln>
            <a:noFill/>
          </a:ln>
        </p:spPr>
        <p:txBody>
          <a:bodyPr spcFirstLastPara="1" wrap="square" lIns="60933" tIns="60933" rIns="60933" bIns="60933"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800"/>
              <a:buFontTx/>
              <a:buNone/>
              <a:tabLst/>
              <a:defRPr/>
            </a:pPr>
            <a:endParaRPr kumimoji="0" lang="en-GB" sz="2400" b="0" i="0" u="none" strike="noStrike" kern="0" cap="none" spc="0" normalizeH="0" baseline="0" noProof="0">
              <a:ln>
                <a:noFill/>
              </a:ln>
              <a:solidFill>
                <a:srgbClr val="000000"/>
              </a:solidFill>
              <a:effectLst/>
              <a:uLnTx/>
              <a:uFillTx/>
              <a:latin typeface="Poppins" panose="00000500000000000000" pitchFamily="2" charset="0"/>
              <a:ea typeface="Calibri"/>
              <a:cs typeface="Poppins" panose="00000500000000000000" pitchFamily="2" charset="0"/>
              <a:sym typeface="Calibri"/>
            </a:endParaRPr>
          </a:p>
        </p:txBody>
      </p:sp>
      <p:sp>
        <p:nvSpPr>
          <p:cNvPr id="36" name="Slide Number Placeholder 2">
            <a:extLst>
              <a:ext uri="{FF2B5EF4-FFF2-40B4-BE49-F238E27FC236}">
                <a16:creationId xmlns:a16="http://schemas.microsoft.com/office/drawing/2014/main" id="{F4465E14-C244-2940-9F37-5B7AD25F75E9}"/>
              </a:ext>
            </a:extLst>
          </p:cNvPr>
          <p:cNvSpPr>
            <a:spLocks noGrp="1"/>
          </p:cNvSpPr>
          <p:nvPr>
            <p:ph type="sldNum" idx="4"/>
          </p:nvPr>
        </p:nvSpPr>
        <p:spPr>
          <a:xfrm>
            <a:off x="11355439" y="6146868"/>
            <a:ext cx="731600" cy="524800"/>
          </a:xfrm>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GB"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1</a:t>
            </a:fld>
            <a:endParaRPr kumimoji="0" lang="en-GB"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sp>
        <p:nvSpPr>
          <p:cNvPr id="37" name="Google Shape;90;p1">
            <a:extLst>
              <a:ext uri="{FF2B5EF4-FFF2-40B4-BE49-F238E27FC236}">
                <a16:creationId xmlns:a16="http://schemas.microsoft.com/office/drawing/2014/main" id="{B9267E61-BB39-9CA2-7F69-E0AC0F92AE59}"/>
              </a:ext>
            </a:extLst>
          </p:cNvPr>
          <p:cNvSpPr txBox="1"/>
          <p:nvPr/>
        </p:nvSpPr>
        <p:spPr>
          <a:xfrm>
            <a:off x="243440" y="3223915"/>
            <a:ext cx="5569113" cy="1489663"/>
          </a:xfrm>
          <a:prstGeom prst="rect">
            <a:avLst/>
          </a:prstGeom>
          <a:noFill/>
          <a:ln>
            <a:noFill/>
          </a:ln>
        </p:spPr>
        <p:txBody>
          <a:bodyPr spcFirstLastPara="1" wrap="square" lIns="121900" tIns="121900" rIns="121900" bIns="121900" anchor="ctr" anchorCtr="0">
            <a:noAutofit/>
          </a:bodyPr>
          <a:lstStyle/>
          <a:p>
            <a:pPr defTabSz="1219170">
              <a:lnSpc>
                <a:spcPct val="115000"/>
              </a:lnSpc>
              <a:spcAft>
                <a:spcPts val="800"/>
              </a:spcAft>
              <a:buClr>
                <a:srgbClr val="000000"/>
              </a:buClr>
              <a:buSzPts val="1400"/>
              <a:defRPr/>
            </a:pPr>
            <a:r>
              <a:rPr lang="en-GB" sz="2800" kern="0" dirty="0">
                <a:solidFill>
                  <a:srgbClr val="145275"/>
                </a:solidFill>
                <a:latin typeface="Poppins"/>
                <a:ea typeface="Oswald"/>
                <a:cs typeface="Poppins"/>
                <a:sym typeface="Oswald"/>
              </a:rPr>
              <a:t>Lab Session</a:t>
            </a:r>
            <a:endParaRPr kumimoji="0" lang="en-GB" sz="2800" b="0" i="0" u="none" strike="noStrike" kern="0" cap="none" spc="0" normalizeH="0" baseline="0" noProof="0" dirty="0">
              <a:ln>
                <a:noFill/>
              </a:ln>
              <a:solidFill>
                <a:srgbClr val="145275"/>
              </a:solidFill>
              <a:effectLst/>
              <a:uLnTx/>
              <a:uFillTx/>
              <a:latin typeface="Poppins" panose="00000500000000000000" pitchFamily="2" charset="0"/>
              <a:ea typeface="Oswald"/>
              <a:cs typeface="Poppins" panose="00000500000000000000" pitchFamily="2" charset="0"/>
              <a:sym typeface="Oswald"/>
            </a:endParaRPr>
          </a:p>
        </p:txBody>
      </p:sp>
      <p:sp>
        <p:nvSpPr>
          <p:cNvPr id="82" name="Google Shape;128;p12">
            <a:extLst>
              <a:ext uri="{FF2B5EF4-FFF2-40B4-BE49-F238E27FC236}">
                <a16:creationId xmlns:a16="http://schemas.microsoft.com/office/drawing/2014/main" id="{D59BA0FB-A5D5-5F2B-977E-C9B39BD22B96}"/>
              </a:ext>
            </a:extLst>
          </p:cNvPr>
          <p:cNvSpPr/>
          <p:nvPr/>
        </p:nvSpPr>
        <p:spPr>
          <a:xfrm>
            <a:off x="4866944" y="-2422"/>
            <a:ext cx="730313" cy="2297191"/>
          </a:xfrm>
          <a:custGeom>
            <a:avLst/>
            <a:gdLst>
              <a:gd name="connsiteX0" fmla="*/ 0 w 21600"/>
              <a:gd name="connsiteY0" fmla="*/ 0 h 21600"/>
              <a:gd name="connsiteX1" fmla="*/ 0 w 21600"/>
              <a:gd name="connsiteY1" fmla="*/ 21600 h 21600"/>
              <a:gd name="connsiteX2" fmla="*/ 20916 w 21600"/>
              <a:gd name="connsiteY2" fmla="*/ 20417 h 21600"/>
              <a:gd name="connsiteX3" fmla="*/ 21600 w 21600"/>
              <a:gd name="connsiteY3" fmla="*/ 0 h 21600"/>
              <a:gd name="connsiteX4" fmla="*/ 0 w 21600"/>
              <a:gd name="connsiteY4" fmla="*/ 0 h 21600"/>
              <a:gd name="connsiteX0" fmla="*/ 0 w 21600"/>
              <a:gd name="connsiteY0" fmla="*/ 0 h 21781"/>
              <a:gd name="connsiteX1" fmla="*/ 205 w 21600"/>
              <a:gd name="connsiteY1" fmla="*/ 21781 h 21781"/>
              <a:gd name="connsiteX2" fmla="*/ 20916 w 21600"/>
              <a:gd name="connsiteY2" fmla="*/ 20417 h 21781"/>
              <a:gd name="connsiteX3" fmla="*/ 21600 w 21600"/>
              <a:gd name="connsiteY3" fmla="*/ 0 h 21781"/>
              <a:gd name="connsiteX4" fmla="*/ 0 w 21600"/>
              <a:gd name="connsiteY4" fmla="*/ 0 h 21781"/>
              <a:gd name="connsiteX0" fmla="*/ 0 w 21600"/>
              <a:gd name="connsiteY0" fmla="*/ 0 h 21781"/>
              <a:gd name="connsiteX1" fmla="*/ 273 w 21600"/>
              <a:gd name="connsiteY1" fmla="*/ 21781 h 21781"/>
              <a:gd name="connsiteX2" fmla="*/ 20916 w 21600"/>
              <a:gd name="connsiteY2" fmla="*/ 20417 h 21781"/>
              <a:gd name="connsiteX3" fmla="*/ 21600 w 21600"/>
              <a:gd name="connsiteY3" fmla="*/ 0 h 21781"/>
              <a:gd name="connsiteX4" fmla="*/ 0 w 21600"/>
              <a:gd name="connsiteY4" fmla="*/ 0 h 21781"/>
              <a:gd name="connsiteX0" fmla="*/ 83 w 21683"/>
              <a:gd name="connsiteY0" fmla="*/ 0 h 21781"/>
              <a:gd name="connsiteX1" fmla="*/ 14 w 21683"/>
              <a:gd name="connsiteY1" fmla="*/ 21781 h 21781"/>
              <a:gd name="connsiteX2" fmla="*/ 20999 w 21683"/>
              <a:gd name="connsiteY2" fmla="*/ 20417 h 21781"/>
              <a:gd name="connsiteX3" fmla="*/ 21683 w 21683"/>
              <a:gd name="connsiteY3" fmla="*/ 0 h 21781"/>
              <a:gd name="connsiteX4" fmla="*/ 83 w 21683"/>
              <a:gd name="connsiteY4" fmla="*/ 0 h 21781"/>
              <a:gd name="connsiteX0" fmla="*/ 0 w 21600"/>
              <a:gd name="connsiteY0" fmla="*/ 0 h 21804"/>
              <a:gd name="connsiteX1" fmla="*/ 68 w 21600"/>
              <a:gd name="connsiteY1" fmla="*/ 21804 h 21804"/>
              <a:gd name="connsiteX2" fmla="*/ 20916 w 21600"/>
              <a:gd name="connsiteY2" fmla="*/ 20417 h 21804"/>
              <a:gd name="connsiteX3" fmla="*/ 21600 w 21600"/>
              <a:gd name="connsiteY3" fmla="*/ 0 h 21804"/>
              <a:gd name="connsiteX4" fmla="*/ 0 w 21600"/>
              <a:gd name="connsiteY4" fmla="*/ 0 h 21804"/>
              <a:gd name="connsiteX0" fmla="*/ 0 w 20984"/>
              <a:gd name="connsiteY0" fmla="*/ 23 h 21827"/>
              <a:gd name="connsiteX1" fmla="*/ 68 w 20984"/>
              <a:gd name="connsiteY1" fmla="*/ 21827 h 21827"/>
              <a:gd name="connsiteX2" fmla="*/ 20916 w 20984"/>
              <a:gd name="connsiteY2" fmla="*/ 20440 h 21827"/>
              <a:gd name="connsiteX3" fmla="*/ 20984 w 20984"/>
              <a:gd name="connsiteY3" fmla="*/ 0 h 21827"/>
              <a:gd name="connsiteX4" fmla="*/ 0 w 20984"/>
              <a:gd name="connsiteY4" fmla="*/ 23 h 21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84" h="21827" extrusionOk="0">
                <a:moveTo>
                  <a:pt x="0" y="23"/>
                </a:moveTo>
                <a:cubicBezTo>
                  <a:pt x="68" y="7283"/>
                  <a:pt x="0" y="14567"/>
                  <a:pt x="68" y="21827"/>
                </a:cubicBezTo>
                <a:lnTo>
                  <a:pt x="20916" y="20440"/>
                </a:lnTo>
                <a:cubicBezTo>
                  <a:pt x="20939" y="13627"/>
                  <a:pt x="20961" y="6813"/>
                  <a:pt x="20984" y="0"/>
                </a:cubicBezTo>
                <a:lnTo>
                  <a:pt x="0" y="23"/>
                </a:lnTo>
                <a:close/>
              </a:path>
            </a:pathLst>
          </a:custGeom>
          <a:solidFill>
            <a:srgbClr val="28ACE2">
              <a:alpha val="43580"/>
            </a:srgbClr>
          </a:solidFill>
          <a:ln>
            <a:noFill/>
          </a:ln>
        </p:spPr>
        <p:txBody>
          <a:bodyPr spcFirstLastPara="1" wrap="square" lIns="60933" tIns="60933" rIns="60933" bIns="60933"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800"/>
              <a:buFontTx/>
              <a:buNone/>
              <a:tabLst/>
              <a:defRPr/>
            </a:pPr>
            <a:endParaRPr kumimoji="0" lang="en-GB" sz="2400" b="0" i="0" u="none" strike="noStrike" kern="0" cap="none" spc="0" normalizeH="0" baseline="0" noProof="0">
              <a:ln>
                <a:noFill/>
              </a:ln>
              <a:solidFill>
                <a:srgbClr val="000000"/>
              </a:solidFill>
              <a:effectLst/>
              <a:uLnTx/>
              <a:uFillTx/>
              <a:latin typeface="Poppins" panose="00000500000000000000" pitchFamily="2" charset="0"/>
              <a:ea typeface="Calibri"/>
              <a:cs typeface="Poppins" panose="00000500000000000000" pitchFamily="2" charset="0"/>
              <a:sym typeface="Calibri"/>
            </a:endParaRPr>
          </a:p>
        </p:txBody>
      </p:sp>
      <p:sp>
        <p:nvSpPr>
          <p:cNvPr id="4" name="Title 3">
            <a:extLst>
              <a:ext uri="{FF2B5EF4-FFF2-40B4-BE49-F238E27FC236}">
                <a16:creationId xmlns:a16="http://schemas.microsoft.com/office/drawing/2014/main" id="{1F47E732-9887-4617-A9C3-D75A2BDB8E85}"/>
              </a:ext>
            </a:extLst>
          </p:cNvPr>
          <p:cNvSpPr>
            <a:spLocks noGrp="1"/>
          </p:cNvSpPr>
          <p:nvPr>
            <p:ph type="ctrTitle"/>
          </p:nvPr>
        </p:nvSpPr>
        <p:spPr>
          <a:xfrm>
            <a:off x="243440" y="336180"/>
            <a:ext cx="4320091" cy="2883593"/>
          </a:xfrm>
        </p:spPr>
        <p:txBody>
          <a:bodyPr vert="horz" tIns="0" bIns="0" anchor="t"/>
          <a:lstStyle/>
          <a:p>
            <a:pPr algn="l"/>
            <a:r>
              <a:rPr lang="en-GB" sz="4400">
                <a:solidFill>
                  <a:srgbClr val="145275"/>
                </a:solidFill>
                <a:latin typeface="Poppins"/>
                <a:cs typeface="Poppins"/>
              </a:rPr>
              <a:t>Cloud Engineering </a:t>
            </a:r>
            <a:br>
              <a:rPr lang="en-GB" sz="4400">
                <a:solidFill>
                  <a:srgbClr val="145275"/>
                </a:solidFill>
                <a:latin typeface="Poppins"/>
                <a:cs typeface="Poppins"/>
              </a:rPr>
            </a:br>
            <a:r>
              <a:rPr lang="en-GB" sz="4400">
                <a:solidFill>
                  <a:srgbClr val="145275"/>
                </a:solidFill>
                <a:latin typeface="Poppins"/>
                <a:cs typeface="Poppins"/>
              </a:rPr>
              <a:t>Program</a:t>
            </a:r>
          </a:p>
        </p:txBody>
      </p:sp>
      <p:pic>
        <p:nvPicPr>
          <p:cNvPr id="20" name="Picture 19">
            <a:extLst>
              <a:ext uri="{FF2B5EF4-FFF2-40B4-BE49-F238E27FC236}">
                <a16:creationId xmlns:a16="http://schemas.microsoft.com/office/drawing/2014/main" id="{4EF350E7-AD50-2B3E-813D-DB8716540DF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86892" y="5613382"/>
            <a:ext cx="1815267" cy="762663"/>
          </a:xfrm>
          <a:prstGeom prst="rect">
            <a:avLst/>
          </a:prstGeom>
        </p:spPr>
      </p:pic>
      <p:pic>
        <p:nvPicPr>
          <p:cNvPr id="21" name="Picture 20">
            <a:extLst>
              <a:ext uri="{FF2B5EF4-FFF2-40B4-BE49-F238E27FC236}">
                <a16:creationId xmlns:a16="http://schemas.microsoft.com/office/drawing/2014/main" id="{1F311C0F-9B3C-40CF-7FC8-098FD20AC60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2349500" y="6138486"/>
            <a:ext cx="2117490" cy="237862"/>
          </a:xfrm>
          <a:prstGeom prst="rect">
            <a:avLst/>
          </a:prstGeom>
        </p:spPr>
      </p:pic>
    </p:spTree>
    <p:extLst>
      <p:ext uri="{BB962C8B-B14F-4D97-AF65-F5344CB8AC3E}">
        <p14:creationId xmlns:p14="http://schemas.microsoft.com/office/powerpoint/2010/main" val="10322149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243440" y="336182"/>
            <a:ext cx="11705119" cy="1318998"/>
          </a:xfrm>
        </p:spPr>
        <p:txBody>
          <a:bodyPr vert="horz" tIns="0" bIns="0" anchor="t"/>
          <a:lstStyle/>
          <a:p>
            <a:pPr algn="l"/>
            <a:r>
              <a:rPr lang="en-GB">
                <a:solidFill>
                  <a:srgbClr val="145275"/>
                </a:solidFill>
                <a:latin typeface="Poppins" panose="00000500000000000000" pitchFamily="2" charset="0"/>
                <a:cs typeface="Poppins" panose="00000500000000000000" pitchFamily="2" charset="0"/>
              </a:rPr>
              <a:t>In this Tutorial Session</a:t>
            </a:r>
          </a:p>
        </p:txBody>
      </p:sp>
      <p:sp>
        <p:nvSpPr>
          <p:cNvPr id="3" name="Slide Number Placeholder 2">
            <a:extLst>
              <a:ext uri="{FF2B5EF4-FFF2-40B4-BE49-F238E27FC236}">
                <a16:creationId xmlns:a16="http://schemas.microsoft.com/office/drawing/2014/main" id="{C8CE9BFC-8864-4B3F-B888-5F528EA261BC}"/>
              </a:ext>
            </a:extLst>
          </p:cNvPr>
          <p:cNvSpPr>
            <a:spLocks noGrp="1"/>
          </p:cNvSpPr>
          <p:nvPr>
            <p:ph type="sldNum" idx="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GB" sz="1733" b="0" i="0" u="none" strike="noStrike" kern="1200" cap="none" spc="0" normalizeH="0" baseline="0" noProof="0" dirty="0" smtClean="0">
                <a:ln>
                  <a:noFill/>
                </a:ln>
                <a:solidFill>
                  <a:prstClr val="white">
                    <a:lumMod val="10000"/>
                  </a:prst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2</a:t>
            </a:fld>
            <a:endParaRPr kumimoji="0" lang="en-GB" sz="1733" b="0" i="0" u="none" strike="noStrike" kern="1200" cap="none" spc="0" normalizeH="0" baseline="0" noProof="0">
              <a:ln>
                <a:noFill/>
              </a:ln>
              <a:solidFill>
                <a:prstClr val="white">
                  <a:lumMod val="10000"/>
                </a:prstClr>
              </a:solidFill>
              <a:effectLst/>
              <a:uLnTx/>
              <a:uFillTx/>
              <a:latin typeface="Poppins" panose="00000500000000000000" pitchFamily="2" charset="0"/>
              <a:cs typeface="Poppins" panose="00000500000000000000" pitchFamily="2" charset="0"/>
              <a:sym typeface="Ubuntu Light"/>
            </a:endParaRPr>
          </a:p>
        </p:txBody>
      </p:sp>
      <p:sp>
        <p:nvSpPr>
          <p:cNvPr id="14" name="Rectangle 13">
            <a:extLst>
              <a:ext uri="{FF2B5EF4-FFF2-40B4-BE49-F238E27FC236}">
                <a16:creationId xmlns:a16="http://schemas.microsoft.com/office/drawing/2014/main" id="{3230A6F9-E2BD-1CBA-E5B1-333737180653}"/>
              </a:ext>
            </a:extLst>
          </p:cNvPr>
          <p:cNvSpPr/>
          <p:nvPr/>
        </p:nvSpPr>
        <p:spPr>
          <a:xfrm>
            <a:off x="2166667" y="1715614"/>
            <a:ext cx="9781891" cy="6247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a:solidFill>
                  <a:schemeClr val="tx1"/>
                </a:solidFill>
                <a:latin typeface="Poppins"/>
                <a:cs typeface="Poppins"/>
              </a:rPr>
              <a:t>Demo</a:t>
            </a:r>
            <a:endParaRPr lang="en-GB" sz="20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endParaRPr>
          </a:p>
        </p:txBody>
      </p:sp>
      <p:sp>
        <p:nvSpPr>
          <p:cNvPr id="16" name="Rectangle 15">
            <a:extLst>
              <a:ext uri="{FF2B5EF4-FFF2-40B4-BE49-F238E27FC236}">
                <a16:creationId xmlns:a16="http://schemas.microsoft.com/office/drawing/2014/main" id="{3FFF6CB7-351E-B4E8-CE92-1B4677EAC331}"/>
              </a:ext>
            </a:extLst>
          </p:cNvPr>
          <p:cNvSpPr/>
          <p:nvPr/>
        </p:nvSpPr>
        <p:spPr>
          <a:xfrm>
            <a:off x="2123533" y="2422111"/>
            <a:ext cx="9825023" cy="711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lumMod val="10000"/>
                  </a:prstClr>
                </a:solidFill>
                <a:effectLst/>
                <a:uLnTx/>
                <a:uFillTx/>
                <a:latin typeface="Poppins" panose="00000500000000000000" pitchFamily="2" charset="0"/>
                <a:ea typeface="+mn-ea"/>
                <a:cs typeface="Poppins" panose="00000500000000000000" pitchFamily="2" charset="0"/>
              </a:rPr>
              <a:t>Q&amp;A</a:t>
            </a:r>
          </a:p>
        </p:txBody>
      </p:sp>
      <p:sp>
        <p:nvSpPr>
          <p:cNvPr id="19" name="Rectangle 18">
            <a:extLst>
              <a:ext uri="{FF2B5EF4-FFF2-40B4-BE49-F238E27FC236}">
                <a16:creationId xmlns:a16="http://schemas.microsoft.com/office/drawing/2014/main" id="{486B726B-F3BB-8784-BDEF-585FAB441439}"/>
              </a:ext>
            </a:extLst>
          </p:cNvPr>
          <p:cNvSpPr/>
          <p:nvPr/>
        </p:nvSpPr>
        <p:spPr>
          <a:xfrm>
            <a:off x="1451142" y="1683935"/>
            <a:ext cx="342896" cy="653537"/>
          </a:xfrm>
          <a:prstGeom prst="rect">
            <a:avLst/>
          </a:prstGeom>
          <a:solidFill>
            <a:srgbClr val="14527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1</a:t>
            </a:r>
          </a:p>
        </p:txBody>
      </p:sp>
      <p:sp>
        <p:nvSpPr>
          <p:cNvPr id="20" name="Rectangle 19">
            <a:extLst>
              <a:ext uri="{FF2B5EF4-FFF2-40B4-BE49-F238E27FC236}">
                <a16:creationId xmlns:a16="http://schemas.microsoft.com/office/drawing/2014/main" id="{661943EC-3CD7-9197-6C8F-7BA1A20E3E03}"/>
              </a:ext>
            </a:extLst>
          </p:cNvPr>
          <p:cNvSpPr/>
          <p:nvPr/>
        </p:nvSpPr>
        <p:spPr>
          <a:xfrm>
            <a:off x="1451142" y="2409474"/>
            <a:ext cx="342896" cy="653537"/>
          </a:xfrm>
          <a:prstGeom prst="rect">
            <a:avLst/>
          </a:prstGeom>
          <a:solidFill>
            <a:srgbClr val="14527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2</a:t>
            </a:r>
          </a:p>
        </p:txBody>
      </p:sp>
      <p:pic>
        <p:nvPicPr>
          <p:cNvPr id="4" name="Graphic 3">
            <a:extLst>
              <a:ext uri="{FF2B5EF4-FFF2-40B4-BE49-F238E27FC236}">
                <a16:creationId xmlns:a16="http://schemas.microsoft.com/office/drawing/2014/main" id="{1F3121EA-F6EB-A0EB-4D53-CB846DB0D11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302943" y="1778694"/>
            <a:ext cx="406512" cy="406512"/>
          </a:xfrm>
          <a:prstGeom prst="rect">
            <a:avLst/>
          </a:prstGeom>
        </p:spPr>
      </p:pic>
      <p:pic>
        <p:nvPicPr>
          <p:cNvPr id="10" name="Graphic 9">
            <a:extLst>
              <a:ext uri="{FF2B5EF4-FFF2-40B4-BE49-F238E27FC236}">
                <a16:creationId xmlns:a16="http://schemas.microsoft.com/office/drawing/2014/main" id="{A5081704-1BC4-103D-D1A8-58C366F46E5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302943" y="2504231"/>
            <a:ext cx="406512" cy="406512"/>
          </a:xfrm>
          <a:prstGeom prst="rect">
            <a:avLst/>
          </a:prstGeom>
        </p:spPr>
      </p:pic>
      <p:cxnSp>
        <p:nvCxnSpPr>
          <p:cNvPr id="34" name="Straight Connector 33">
            <a:extLst>
              <a:ext uri="{FF2B5EF4-FFF2-40B4-BE49-F238E27FC236}">
                <a16:creationId xmlns:a16="http://schemas.microsoft.com/office/drawing/2014/main" id="{C1B2A171-8FA0-1EBE-1723-422DDC698E11}"/>
              </a:ext>
            </a:extLst>
          </p:cNvPr>
          <p:cNvCxnSpPr/>
          <p:nvPr/>
        </p:nvCxnSpPr>
        <p:spPr>
          <a:xfrm>
            <a:off x="685800" y="2344719"/>
            <a:ext cx="11262758" cy="0"/>
          </a:xfrm>
          <a:prstGeom prst="line">
            <a:avLst/>
          </a:prstGeom>
          <a:ln w="6350">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725B769-B9DC-C0A3-9D81-F31E08EBF234}"/>
              </a:ext>
            </a:extLst>
          </p:cNvPr>
          <p:cNvCxnSpPr/>
          <p:nvPr/>
        </p:nvCxnSpPr>
        <p:spPr>
          <a:xfrm>
            <a:off x="685800" y="3070256"/>
            <a:ext cx="11262758" cy="0"/>
          </a:xfrm>
          <a:prstGeom prst="line">
            <a:avLst/>
          </a:prstGeom>
          <a:ln w="6350">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D2756322-53FE-FF4E-B0D8-F5C388590C0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29" name="Picture 28">
            <a:extLst>
              <a:ext uri="{FF2B5EF4-FFF2-40B4-BE49-F238E27FC236}">
                <a16:creationId xmlns:a16="http://schemas.microsoft.com/office/drawing/2014/main" id="{FBB66E5C-005D-DDA5-F2B2-FBA03938D1C2}"/>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1440829" y="6463959"/>
            <a:ext cx="1905000" cy="207708"/>
          </a:xfrm>
          <a:prstGeom prst="rect">
            <a:avLst/>
          </a:prstGeom>
        </p:spPr>
      </p:pic>
    </p:spTree>
    <p:extLst>
      <p:ext uri="{BB962C8B-B14F-4D97-AF65-F5344CB8AC3E}">
        <p14:creationId xmlns:p14="http://schemas.microsoft.com/office/powerpoint/2010/main" val="10449554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5954F66B-3BF3-4495-BAEE-BEB2B0188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B42565F-F50D-0053-7B9A-2312F984F09D}"/>
              </a:ext>
            </a:extLst>
          </p:cNvPr>
          <p:cNvSpPr>
            <a:spLocks noGrp="1"/>
          </p:cNvSpPr>
          <p:nvPr>
            <p:ph type="title"/>
          </p:nvPr>
        </p:nvSpPr>
        <p:spPr>
          <a:xfrm>
            <a:off x="5296874" y="1076325"/>
            <a:ext cx="6217920" cy="925196"/>
          </a:xfrm>
        </p:spPr>
        <p:txBody>
          <a:bodyPr anchor="b">
            <a:normAutofit fontScale="90000"/>
          </a:bodyPr>
          <a:lstStyle/>
          <a:p>
            <a:r>
              <a:rPr lang="en-US" sz="3600" b="1"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rPr>
              <a:t>Setting up System Directories for Incognito Wrap Inc.</a:t>
            </a:r>
            <a:endParaRPr lang="en-US" sz="3600" b="1" dirty="0">
              <a:solidFill>
                <a:srgbClr val="0070C0"/>
              </a:solidFill>
            </a:endParaRPr>
          </a:p>
        </p:txBody>
      </p:sp>
      <p:pic>
        <p:nvPicPr>
          <p:cNvPr id="7" name="Graphic 6" descr="Computer">
            <a:extLst>
              <a:ext uri="{FF2B5EF4-FFF2-40B4-BE49-F238E27FC236}">
                <a16:creationId xmlns:a16="http://schemas.microsoft.com/office/drawing/2014/main" id="{06BFB0C1-4356-143F-6938-0EB85EE0B14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0" y="1283758"/>
            <a:ext cx="2719282" cy="2719282"/>
          </a:xfrm>
          <a:prstGeom prst="rect">
            <a:avLst/>
          </a:prstGeom>
        </p:spPr>
      </p:pic>
      <p:sp>
        <p:nvSpPr>
          <p:cNvPr id="12" name="Rectangle 11">
            <a:extLst>
              <a:ext uri="{FF2B5EF4-FFF2-40B4-BE49-F238E27FC236}">
                <a16:creationId xmlns:a16="http://schemas.microsoft.com/office/drawing/2014/main" id="{EABAD4DA-87BA-4F70-9EF0-45C6BCF17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534618" y="363389"/>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4" name="Rectangle 13">
            <a:extLst>
              <a:ext uri="{FF2B5EF4-FFF2-40B4-BE49-F238E27FC236}">
                <a16:creationId xmlns:a16="http://schemas.microsoft.com/office/drawing/2014/main" id="{915128D9-2797-47FA-B6FE-EC24E6B843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315924" y="2935541"/>
            <a:ext cx="621792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3" name="Content Placeholder 2">
            <a:extLst>
              <a:ext uri="{FF2B5EF4-FFF2-40B4-BE49-F238E27FC236}">
                <a16:creationId xmlns:a16="http://schemas.microsoft.com/office/drawing/2014/main" id="{5312186E-3C86-458B-32B1-5D4C74721360}"/>
              </a:ext>
            </a:extLst>
          </p:cNvPr>
          <p:cNvSpPr>
            <a:spLocks noGrp="1"/>
          </p:cNvSpPr>
          <p:nvPr>
            <p:ph idx="1"/>
          </p:nvPr>
        </p:nvSpPr>
        <p:spPr>
          <a:xfrm>
            <a:off x="3484880" y="2174240"/>
            <a:ext cx="8084778" cy="4358640"/>
          </a:xfrm>
        </p:spPr>
        <p:txBody>
          <a:bodyPr>
            <a:noAutofit/>
          </a:bodyPr>
          <a:lstStyle/>
          <a:p>
            <a:pPr marL="0" marR="0" indent="0">
              <a:spcBef>
                <a:spcPts val="0"/>
              </a:spcBef>
              <a:spcAft>
                <a:spcPts val="800"/>
              </a:spcAft>
              <a:buNone/>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Welcome to the Linux System Administration Lab Session for Incognito Wrap Inc. As the new Linux system administrator, your task is to set up the company's new system directory to facilitate efficient organization and user access control.</a:t>
            </a:r>
          </a:p>
          <a:p>
            <a:pPr marL="0" marR="0" indent="0">
              <a:spcBef>
                <a:spcPts val="0"/>
              </a:spcBef>
              <a:spcAft>
                <a:spcPts val="800"/>
              </a:spcAft>
              <a:buNone/>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indent="0">
              <a:spcBef>
                <a:spcPts val="0"/>
              </a:spcBef>
              <a:spcAft>
                <a:spcPts val="800"/>
              </a:spcAft>
              <a:buNone/>
            </a:pP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Task Description:</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spcBef>
                <a:spcPts val="0"/>
              </a:spcBef>
              <a:spcAft>
                <a:spcPts val="800"/>
              </a:spcAft>
              <a:buNone/>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You are required to create directories for each department within Incognito Wrap Inc. The departments include Sales, HR, Accounts, and Marketing. Additionally, you need to assign permissions to users within each department as specified below:</a:t>
            </a:r>
          </a:p>
          <a:p>
            <a:pPr marL="0" marR="0" indent="0">
              <a:spcBef>
                <a:spcPts val="0"/>
              </a:spcBef>
              <a:spcAft>
                <a:spcPts val="800"/>
              </a:spcAft>
              <a:buNone/>
            </a:pP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Sales, HR, Marketing, Accounts Departmen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Create </a:t>
            </a:r>
            <a:r>
              <a:rPr lang="en-US" sz="1800" kern="100" dirty="0">
                <a:latin typeface="Calibri" panose="020F0502020204030204" pitchFamily="34" charset="0"/>
                <a:ea typeface="Calibri" panose="020F0502020204030204" pitchFamily="34" charset="0"/>
                <a:cs typeface="Times New Roman" panose="02020603050405020304" pitchFamily="18" charset="0"/>
              </a:rPr>
              <a:t>the directories</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t>
            </a:r>
          </a:p>
          <a:p>
            <a:pPr marL="342900" marR="0" lvl="0" indent="-342900">
              <a:spcBef>
                <a:spcPts val="0"/>
              </a:spcBef>
              <a:spcAft>
                <a:spcPts val="0"/>
              </a:spcAft>
              <a:buFont typeface="Symbol" panose="05050102010706020507" pitchFamily="18" charset="2"/>
              <a:buChar cha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dd three user directories to each directory:</a:t>
            </a:r>
          </a:p>
          <a:p>
            <a:pPr marL="342900" marR="0" lvl="0" indent="-342900">
              <a:spcBef>
                <a:spcPts val="0"/>
              </a:spcBef>
              <a:spcAft>
                <a:spcPts val="0"/>
              </a:spcAft>
              <a:buFont typeface="Symbol" panose="05050102010706020507" pitchFamily="18" charset="2"/>
              <a:buChar cha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wo users should have permissions set to 644.</a:t>
            </a:r>
          </a:p>
          <a:p>
            <a:pPr marL="342900" marR="0" lvl="0" indent="-342900">
              <a:spcBef>
                <a:spcPts val="0"/>
              </a:spcBef>
              <a:spcAft>
                <a:spcPts val="0"/>
              </a:spcAft>
              <a:buFont typeface="Symbol" panose="05050102010706020507" pitchFamily="18" charset="2"/>
              <a:buChar cha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One user should have permissions set to 744.</a:t>
            </a:r>
          </a:p>
          <a:p>
            <a:pPr marL="342900" marR="0" lvl="0" indent="-342900">
              <a:spcBef>
                <a:spcPts val="0"/>
              </a:spcBef>
              <a:spcAft>
                <a:spcPts val="800"/>
              </a:spcAft>
              <a:buFont typeface="Symbol" panose="05050102010706020507" pitchFamily="18" charset="2"/>
              <a:buChar cha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pply the sticky bit to the “</a:t>
            </a: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Accounts</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directory.) </a:t>
            </a:r>
          </a:p>
          <a:p>
            <a:endParaRPr lang="en-US" sz="1800" dirty="0"/>
          </a:p>
        </p:txBody>
      </p:sp>
    </p:spTree>
    <p:extLst>
      <p:ext uri="{BB962C8B-B14F-4D97-AF65-F5344CB8AC3E}">
        <p14:creationId xmlns:p14="http://schemas.microsoft.com/office/powerpoint/2010/main" val="40014260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5954F66B-3BF3-4495-BAEE-BEB2B0188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9449E6F-8F83-018C-EFA0-768538610B22}"/>
              </a:ext>
            </a:extLst>
          </p:cNvPr>
          <p:cNvSpPr>
            <a:spLocks noGrp="1"/>
          </p:cNvSpPr>
          <p:nvPr>
            <p:ph type="title"/>
          </p:nvPr>
        </p:nvSpPr>
        <p:spPr>
          <a:xfrm>
            <a:off x="5296874" y="1076324"/>
            <a:ext cx="6272784" cy="336931"/>
          </a:xfrm>
        </p:spPr>
        <p:txBody>
          <a:bodyPr anchor="b">
            <a:normAutofit fontScale="90000"/>
          </a:bodyPr>
          <a:lstStyle/>
          <a:p>
            <a:r>
              <a:rPr lang="en-US" sz="5200" dirty="0"/>
              <a:t>.</a:t>
            </a:r>
          </a:p>
        </p:txBody>
      </p:sp>
      <p:pic>
        <p:nvPicPr>
          <p:cNvPr id="7" name="Graphic 6" descr="Hierarchy">
            <a:extLst>
              <a:ext uri="{FF2B5EF4-FFF2-40B4-BE49-F238E27FC236}">
                <a16:creationId xmlns:a16="http://schemas.microsoft.com/office/drawing/2014/main" id="{53C5D052-BFFB-B126-308B-A11BD1ECC02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0" y="1283758"/>
            <a:ext cx="1889760" cy="1889760"/>
          </a:xfrm>
          <a:prstGeom prst="rect">
            <a:avLst/>
          </a:prstGeom>
        </p:spPr>
      </p:pic>
      <p:sp>
        <p:nvSpPr>
          <p:cNvPr id="12" name="Rectangle 11">
            <a:extLst>
              <a:ext uri="{FF2B5EF4-FFF2-40B4-BE49-F238E27FC236}">
                <a16:creationId xmlns:a16="http://schemas.microsoft.com/office/drawing/2014/main" id="{EABAD4DA-87BA-4F70-9EF0-45C6BCF17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534618" y="363389"/>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4" name="Rectangle 13">
            <a:extLst>
              <a:ext uri="{FF2B5EF4-FFF2-40B4-BE49-F238E27FC236}">
                <a16:creationId xmlns:a16="http://schemas.microsoft.com/office/drawing/2014/main" id="{915128D9-2797-47FA-B6FE-EC24E6B843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315924" y="2935541"/>
            <a:ext cx="621792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3" name="Content Placeholder 2">
            <a:extLst>
              <a:ext uri="{FF2B5EF4-FFF2-40B4-BE49-F238E27FC236}">
                <a16:creationId xmlns:a16="http://schemas.microsoft.com/office/drawing/2014/main" id="{9EFD6F62-15D9-DA55-C5ED-32C67F1133D3}"/>
              </a:ext>
            </a:extLst>
          </p:cNvPr>
          <p:cNvSpPr>
            <a:spLocks noGrp="1"/>
          </p:cNvSpPr>
          <p:nvPr>
            <p:ph idx="1"/>
          </p:nvPr>
        </p:nvSpPr>
        <p:spPr>
          <a:xfrm>
            <a:off x="3241040" y="1750609"/>
            <a:ext cx="8328618" cy="4426353"/>
          </a:xfrm>
        </p:spPr>
        <p:txBody>
          <a:bodyPr>
            <a:normAutofit lnSpcReduction="10000"/>
          </a:bodyPr>
          <a:lstStyle/>
          <a:p>
            <a:pPr marL="0" marR="0">
              <a:spcBef>
                <a:spcPts val="0"/>
              </a:spcBef>
              <a:spcAft>
                <a:spcPts val="800"/>
              </a:spcAft>
            </a:pPr>
            <a:r>
              <a:rPr lang="en-US" sz="2000" b="1" kern="100" dirty="0">
                <a:effectLst/>
                <a:latin typeface="Calibri" panose="020F0502020204030204" pitchFamily="34" charset="0"/>
                <a:ea typeface="Calibri" panose="020F0502020204030204" pitchFamily="34" charset="0"/>
                <a:cs typeface="Times New Roman" panose="02020603050405020304" pitchFamily="18" charset="0"/>
              </a:rPr>
              <a:t>Create Directories: </a:t>
            </a:r>
            <a:r>
              <a:rPr lang="en-US" sz="2000" kern="100" dirty="0">
                <a:effectLst/>
                <a:latin typeface="Calibri" panose="020F0502020204030204" pitchFamily="34" charset="0"/>
                <a:ea typeface="Calibri" panose="020F0502020204030204" pitchFamily="34" charset="0"/>
                <a:cs typeface="Times New Roman" panose="02020603050405020304" pitchFamily="18" charset="0"/>
              </a:rPr>
              <a:t>Create directories for each department using the </a:t>
            </a:r>
            <a:r>
              <a:rPr lang="en-US" sz="2000" kern="100" dirty="0" err="1">
                <a:effectLst/>
                <a:latin typeface="Calibri" panose="020F0502020204030204" pitchFamily="34" charset="0"/>
                <a:ea typeface="Calibri" panose="020F0502020204030204" pitchFamily="34" charset="0"/>
                <a:cs typeface="Times New Roman" panose="02020603050405020304" pitchFamily="18" charset="0"/>
              </a:rPr>
              <a:t>mkdir</a:t>
            </a:r>
            <a:r>
              <a:rPr lang="en-US" sz="2000" kern="100" dirty="0">
                <a:effectLst/>
                <a:latin typeface="Calibri" panose="020F0502020204030204" pitchFamily="34" charset="0"/>
                <a:ea typeface="Calibri" panose="020F0502020204030204" pitchFamily="34" charset="0"/>
                <a:cs typeface="Times New Roman" panose="02020603050405020304" pitchFamily="18" charset="0"/>
              </a:rPr>
              <a:t> command.</a:t>
            </a:r>
          </a:p>
          <a:p>
            <a:pPr marL="0" marR="0" indent="0">
              <a:spcBef>
                <a:spcPts val="0"/>
              </a:spcBef>
              <a:spcAft>
                <a:spcPts val="800"/>
              </a:spcAft>
              <a:buNone/>
            </a:pPr>
            <a:endParaRPr lang="en-US" sz="20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800"/>
              </a:spcAft>
            </a:pPr>
            <a:r>
              <a:rPr lang="en-US" sz="2000" b="1" kern="100" dirty="0">
                <a:effectLst/>
                <a:latin typeface="Calibri" panose="020F0502020204030204" pitchFamily="34" charset="0"/>
                <a:ea typeface="Calibri" panose="020F0502020204030204" pitchFamily="34" charset="0"/>
                <a:cs typeface="Times New Roman" panose="02020603050405020304" pitchFamily="18" charset="0"/>
              </a:rPr>
              <a:t>Set Permissions: </a:t>
            </a:r>
            <a:r>
              <a:rPr lang="en-US" sz="2000" kern="100" dirty="0">
                <a:effectLst/>
                <a:latin typeface="Calibri" panose="020F0502020204030204" pitchFamily="34" charset="0"/>
                <a:ea typeface="Calibri" panose="020F0502020204030204" pitchFamily="34" charset="0"/>
                <a:cs typeface="Times New Roman" panose="02020603050405020304" pitchFamily="18" charset="0"/>
              </a:rPr>
              <a:t>Use the </a:t>
            </a:r>
            <a:r>
              <a:rPr lang="en-US" sz="2000" kern="100" dirty="0" err="1">
                <a:effectLst/>
                <a:latin typeface="Calibri" panose="020F0502020204030204" pitchFamily="34" charset="0"/>
                <a:ea typeface="Calibri" panose="020F0502020204030204" pitchFamily="34" charset="0"/>
                <a:cs typeface="Times New Roman" panose="02020603050405020304" pitchFamily="18" charset="0"/>
              </a:rPr>
              <a:t>chmod</a:t>
            </a:r>
            <a:r>
              <a:rPr lang="en-US" sz="2000" kern="100" dirty="0">
                <a:effectLst/>
                <a:latin typeface="Calibri" panose="020F0502020204030204" pitchFamily="34" charset="0"/>
                <a:ea typeface="Calibri" panose="020F0502020204030204" pitchFamily="34" charset="0"/>
                <a:cs typeface="Times New Roman" panose="02020603050405020304" pitchFamily="18" charset="0"/>
              </a:rPr>
              <a:t> command to set permissions for </a:t>
            </a:r>
            <a:r>
              <a:rPr lang="en-US" sz="2000" kern="100">
                <a:effectLst/>
                <a:latin typeface="Calibri" panose="020F0502020204030204" pitchFamily="34" charset="0"/>
                <a:ea typeface="Calibri" panose="020F0502020204030204" pitchFamily="34" charset="0"/>
                <a:cs typeface="Times New Roman" panose="02020603050405020304" pitchFamily="18" charset="0"/>
              </a:rPr>
              <a:t>each user </a:t>
            </a:r>
            <a:r>
              <a:rPr lang="en-US" sz="2000" kern="100" dirty="0">
                <a:effectLst/>
                <a:latin typeface="Calibri" panose="020F0502020204030204" pitchFamily="34" charset="0"/>
                <a:ea typeface="Calibri" panose="020F0502020204030204" pitchFamily="34" charset="0"/>
                <a:cs typeface="Times New Roman" panose="02020603050405020304" pitchFamily="18" charset="0"/>
              </a:rPr>
              <a:t>directory within the respective department directories.</a:t>
            </a:r>
          </a:p>
          <a:p>
            <a:pPr marL="0" marR="0">
              <a:spcBef>
                <a:spcPts val="0"/>
              </a:spcBef>
              <a:spcAft>
                <a:spcPts val="800"/>
              </a:spcAft>
            </a:pPr>
            <a:endParaRPr lang="en-US" sz="20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800"/>
              </a:spcAft>
            </a:pPr>
            <a:r>
              <a:rPr lang="en-US" sz="2000" b="1" kern="100" dirty="0">
                <a:effectLst/>
                <a:latin typeface="Calibri" panose="020F0502020204030204" pitchFamily="34" charset="0"/>
                <a:ea typeface="Calibri" panose="020F0502020204030204" pitchFamily="34" charset="0"/>
                <a:cs typeface="Times New Roman" panose="02020603050405020304" pitchFamily="18" charset="0"/>
              </a:rPr>
              <a:t>Apply Sticky Bit: </a:t>
            </a:r>
            <a:r>
              <a:rPr lang="en-US" sz="2000" kern="100" dirty="0">
                <a:effectLst/>
                <a:latin typeface="Calibri" panose="020F0502020204030204" pitchFamily="34" charset="0"/>
                <a:ea typeface="Calibri" panose="020F0502020204030204" pitchFamily="34" charset="0"/>
                <a:cs typeface="Times New Roman" panose="02020603050405020304" pitchFamily="18" charset="0"/>
              </a:rPr>
              <a:t>Utilize the </a:t>
            </a:r>
            <a:r>
              <a:rPr lang="en-US" sz="2000" kern="100" dirty="0" err="1">
                <a:effectLst/>
                <a:latin typeface="Calibri" panose="020F0502020204030204" pitchFamily="34" charset="0"/>
                <a:ea typeface="Calibri" panose="020F0502020204030204" pitchFamily="34" charset="0"/>
                <a:cs typeface="Times New Roman" panose="02020603050405020304" pitchFamily="18" charset="0"/>
              </a:rPr>
              <a:t>chmod</a:t>
            </a:r>
            <a:r>
              <a:rPr lang="en-US" sz="2000" kern="100" dirty="0">
                <a:effectLst/>
                <a:latin typeface="Calibri" panose="020F0502020204030204" pitchFamily="34" charset="0"/>
                <a:ea typeface="Calibri" panose="020F0502020204030204" pitchFamily="34" charset="0"/>
                <a:cs typeface="Times New Roman" panose="02020603050405020304" pitchFamily="18" charset="0"/>
              </a:rPr>
              <a:t> command to apply the sticky bit to the “</a:t>
            </a:r>
            <a:r>
              <a:rPr lang="en-US" sz="2000" b="1" kern="100" dirty="0">
                <a:effectLst/>
                <a:latin typeface="Calibri" panose="020F0502020204030204" pitchFamily="34" charset="0"/>
                <a:ea typeface="Calibri" panose="020F0502020204030204" pitchFamily="34" charset="0"/>
                <a:cs typeface="Times New Roman" panose="02020603050405020304" pitchFamily="18" charset="0"/>
              </a:rPr>
              <a:t>Accounts”</a:t>
            </a:r>
            <a:r>
              <a:rPr lang="en-US" sz="2000" kern="100" dirty="0">
                <a:effectLst/>
                <a:latin typeface="Calibri" panose="020F0502020204030204" pitchFamily="34" charset="0"/>
                <a:ea typeface="Calibri" panose="020F0502020204030204" pitchFamily="34" charset="0"/>
                <a:cs typeface="Times New Roman" panose="02020603050405020304" pitchFamily="18" charset="0"/>
              </a:rPr>
              <a:t> directory.</a:t>
            </a:r>
          </a:p>
          <a:p>
            <a:pPr marL="0" marR="0">
              <a:spcBef>
                <a:spcPts val="0"/>
              </a:spcBef>
              <a:spcAft>
                <a:spcPts val="800"/>
              </a:spcAft>
            </a:pPr>
            <a:endParaRPr lang="en-US" sz="20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800"/>
              </a:spcAft>
            </a:pPr>
            <a:r>
              <a:rPr lang="en-US" sz="2000" b="1" kern="100" dirty="0">
                <a:effectLst/>
                <a:latin typeface="Calibri" panose="020F0502020204030204" pitchFamily="34" charset="0"/>
                <a:ea typeface="Calibri" panose="020F0502020204030204" pitchFamily="34" charset="0"/>
                <a:cs typeface="Times New Roman" panose="02020603050405020304" pitchFamily="18" charset="0"/>
              </a:rPr>
              <a:t>Lab Submission: </a:t>
            </a:r>
            <a:r>
              <a:rPr lang="en-US" sz="2000" kern="100" dirty="0">
                <a:effectLst/>
                <a:latin typeface="Calibri" panose="020F0502020204030204" pitchFamily="34" charset="0"/>
                <a:ea typeface="Calibri" panose="020F0502020204030204" pitchFamily="34" charset="0"/>
                <a:cs typeface="Times New Roman" panose="02020603050405020304" pitchFamily="18" charset="0"/>
              </a:rPr>
              <a:t>Create a file in HR directory and insert the summary of the various codes used in creating the system, use nano or vim editor. </a:t>
            </a:r>
          </a:p>
          <a:p>
            <a:pPr marL="0" marR="0">
              <a:spcBef>
                <a:spcPts val="0"/>
              </a:spcBef>
              <a:spcAft>
                <a:spcPts val="800"/>
              </a:spcAft>
            </a:pPr>
            <a:r>
              <a:rPr lang="en-US" sz="2000" kern="1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Ensure that the setup adheres to the specified requirements and that permissions are correctly assigned to users within each department.</a:t>
            </a:r>
          </a:p>
          <a:p>
            <a:pPr marL="0" indent="0">
              <a:buNone/>
            </a:pPr>
            <a:endParaRPr lang="en-US" sz="2000" dirty="0"/>
          </a:p>
        </p:txBody>
      </p:sp>
    </p:spTree>
    <p:extLst>
      <p:ext uri="{BB962C8B-B14F-4D97-AF65-F5344CB8AC3E}">
        <p14:creationId xmlns:p14="http://schemas.microsoft.com/office/powerpoint/2010/main" val="4720986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22A1C69-9077-4E9D-A661-45AF1F0A66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3" progId="TCLayout.ActiveDocument.1">
                  <p:embed/>
                </p:oleObj>
              </mc:Choice>
              <mc:Fallback>
                <p:oleObj name="think-cell Slide" r:id="rId4" imgW="383" imgH="383" progId="TCLayout.ActiveDocument.1">
                  <p:embed/>
                  <p:pic>
                    <p:nvPicPr>
                      <p:cNvPr id="6" name="Object 5" hidden="1">
                        <a:extLst>
                          <a:ext uri="{FF2B5EF4-FFF2-40B4-BE49-F238E27FC236}">
                            <a16:creationId xmlns:a16="http://schemas.microsoft.com/office/drawing/2014/main" id="{B22A1C69-9077-4E9D-A661-45AF1F0A66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AD1BE0A4-6A2B-BE0E-074A-240E58AC8E38}"/>
              </a:ext>
            </a:extLst>
          </p:cNvPr>
          <p:cNvPicPr preferRelativeResize="0">
            <a:picLocks/>
          </p:cNvPicPr>
          <p:nvPr/>
        </p:nvPicPr>
        <p:blipFill rotWithShape="1">
          <a:blip r:embed="rId6">
            <a:alphaModFix amt="37000"/>
            <a:duotone>
              <a:prstClr val="black"/>
              <a:srgbClr val="145275">
                <a:tint val="45000"/>
                <a:satMod val="400000"/>
              </a:srgbClr>
            </a:duotone>
            <a:extLst>
              <a:ext uri="{28A0092B-C50C-407E-A947-70E740481C1C}">
                <a14:useLocalDpi xmlns:a14="http://schemas.microsoft.com/office/drawing/2010/main" val="0"/>
              </a:ext>
            </a:extLst>
          </a:blip>
          <a:srcRect t="7813" b="7813"/>
          <a:stretch/>
        </p:blipFill>
        <p:spPr>
          <a:xfrm>
            <a:off x="0" y="0"/>
            <a:ext cx="12192000" cy="6858000"/>
          </a:xfrm>
          <a:prstGeom prst="rect">
            <a:avLst/>
          </a:prstGeom>
        </p:spPr>
      </p:pic>
      <p:sp>
        <p:nvSpPr>
          <p:cNvPr id="4" name="Slide Number Placeholder 3"/>
          <p:cNvSpPr>
            <a:spLocks noGrp="1"/>
          </p:cNvSpPr>
          <p:nvPr>
            <p:ph type="sldNum" idx="4"/>
          </p:nvPr>
        </p:nvSpPr>
        <p:spPr>
          <a:xfrm>
            <a:off x="11299570" y="6146867"/>
            <a:ext cx="731600" cy="524800"/>
          </a:xfrm>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GB" sz="1733" b="0" i="0" u="none" strike="noStrike" kern="1200" cap="none" spc="0" normalizeH="0" baseline="0" noProof="0" dirty="0" smtClean="0">
                <a:ln>
                  <a:noFill/>
                </a:ln>
                <a:solidFill>
                  <a:prstClr val="white"/>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5</a:t>
            </a:fld>
            <a:endParaRPr kumimoji="0" lang="en-GB" sz="1733" b="0"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sym typeface="Ubuntu Light"/>
            </a:endParaRPr>
          </a:p>
        </p:txBody>
      </p:sp>
      <p:sp>
        <p:nvSpPr>
          <p:cNvPr id="39" name="Rectangle 38">
            <a:extLst>
              <a:ext uri="{FF2B5EF4-FFF2-40B4-BE49-F238E27FC236}">
                <a16:creationId xmlns:a16="http://schemas.microsoft.com/office/drawing/2014/main" id="{8DD91B24-EBA4-1C18-A8BF-707606C460C3}"/>
              </a:ext>
            </a:extLst>
          </p:cNvPr>
          <p:cNvSpPr/>
          <p:nvPr/>
        </p:nvSpPr>
        <p:spPr>
          <a:xfrm>
            <a:off x="449584" y="985240"/>
            <a:ext cx="11009931" cy="488752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0" bIns="0" rtlCol="0" anchor="ctr"/>
          <a:lstStyle/>
          <a:p>
            <a:pPr marL="0" marR="0" lvl="0" indent="0" algn="l" defTabSz="914400" rtl="0" eaLnBrk="1" fontAlgn="auto" latinLnBrk="0" hangingPunct="1">
              <a:lnSpc>
                <a:spcPct val="100000"/>
              </a:lnSpc>
              <a:spcBef>
                <a:spcPts val="0"/>
              </a:spcBef>
              <a:spcAft>
                <a:spcPts val="4200"/>
              </a:spcAft>
              <a:buClrTx/>
              <a:buSzTx/>
              <a:buFontTx/>
              <a:buNone/>
              <a:tabLst/>
              <a:defRPr/>
            </a:pPr>
            <a:r>
              <a:rPr kumimoji="0" lang="en-GB" sz="6000" b="1"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Q&amp;A</a:t>
            </a:r>
          </a:p>
        </p:txBody>
      </p:sp>
      <p:grpSp>
        <p:nvGrpSpPr>
          <p:cNvPr id="41" name="Group 40">
            <a:extLst>
              <a:ext uri="{FF2B5EF4-FFF2-40B4-BE49-F238E27FC236}">
                <a16:creationId xmlns:a16="http://schemas.microsoft.com/office/drawing/2014/main" id="{77CBEF63-D305-4D51-7FE8-14D434F89E3F}"/>
              </a:ext>
            </a:extLst>
          </p:cNvPr>
          <p:cNvGrpSpPr/>
          <p:nvPr/>
        </p:nvGrpSpPr>
        <p:grpSpPr>
          <a:xfrm>
            <a:off x="8324513" y="1937049"/>
            <a:ext cx="2734300" cy="2983903"/>
            <a:chOff x="7424596" y="2436291"/>
            <a:chExt cx="3004574" cy="3278850"/>
          </a:xfrm>
        </p:grpSpPr>
        <p:sp>
          <p:nvSpPr>
            <p:cNvPr id="42" name="Freeform: Shape 41">
              <a:extLst>
                <a:ext uri="{FF2B5EF4-FFF2-40B4-BE49-F238E27FC236}">
                  <a16:creationId xmlns:a16="http://schemas.microsoft.com/office/drawing/2014/main" id="{4D604D8A-A750-B3C2-8B90-52F788253EC7}"/>
                </a:ext>
              </a:extLst>
            </p:cNvPr>
            <p:cNvSpPr/>
            <p:nvPr/>
          </p:nvSpPr>
          <p:spPr>
            <a:xfrm>
              <a:off x="8096263" y="3113447"/>
              <a:ext cx="1661214" cy="1963229"/>
            </a:xfrm>
            <a:custGeom>
              <a:avLst/>
              <a:gdLst>
                <a:gd name="connsiteX0" fmla="*/ 532767 w 1065534"/>
                <a:gd name="connsiteY0" fmla="*/ 0 h 1259254"/>
                <a:gd name="connsiteX1" fmla="*/ 0 w 1065534"/>
                <a:gd name="connsiteY1" fmla="*/ 500473 h 1259254"/>
                <a:gd name="connsiteX2" fmla="*/ 290604 w 1065534"/>
                <a:gd name="connsiteY2" fmla="*/ 1259255 h 1259254"/>
                <a:gd name="connsiteX3" fmla="*/ 774930 w 1065534"/>
                <a:gd name="connsiteY3" fmla="*/ 1259255 h 1259254"/>
                <a:gd name="connsiteX4" fmla="*/ 1065534 w 1065534"/>
                <a:gd name="connsiteY4" fmla="*/ 500473 h 1259254"/>
                <a:gd name="connsiteX5" fmla="*/ 532767 w 1065534"/>
                <a:gd name="connsiteY5" fmla="*/ 0 h 1259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5534" h="1259254">
                  <a:moveTo>
                    <a:pt x="532767" y="0"/>
                  </a:moveTo>
                  <a:cubicBezTo>
                    <a:pt x="152570" y="0"/>
                    <a:pt x="0" y="293829"/>
                    <a:pt x="0" y="500473"/>
                  </a:cubicBezTo>
                  <a:cubicBezTo>
                    <a:pt x="0" y="802317"/>
                    <a:pt x="236414" y="1025108"/>
                    <a:pt x="290604" y="1259255"/>
                  </a:cubicBezTo>
                  <a:lnTo>
                    <a:pt x="774930" y="1259255"/>
                  </a:lnTo>
                  <a:cubicBezTo>
                    <a:pt x="829143" y="1025108"/>
                    <a:pt x="1065534" y="802317"/>
                    <a:pt x="1065534" y="500473"/>
                  </a:cubicBezTo>
                  <a:cubicBezTo>
                    <a:pt x="1065534" y="293829"/>
                    <a:pt x="912988" y="0"/>
                    <a:pt x="532767" y="0"/>
                  </a:cubicBezTo>
                  <a:close/>
                </a:path>
              </a:pathLst>
            </a:custGeom>
            <a:solidFill>
              <a:srgbClr val="FFFFFF"/>
            </a:solidFill>
            <a:ln w="233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sp>
          <p:nvSpPr>
            <p:cNvPr id="43" name="Freeform: Shape 42">
              <a:extLst>
                <a:ext uri="{FF2B5EF4-FFF2-40B4-BE49-F238E27FC236}">
                  <a16:creationId xmlns:a16="http://schemas.microsoft.com/office/drawing/2014/main" id="{4BCC17B9-9915-1181-9C3C-C457E36FBAB0}"/>
                </a:ext>
              </a:extLst>
            </p:cNvPr>
            <p:cNvSpPr/>
            <p:nvPr/>
          </p:nvSpPr>
          <p:spPr>
            <a:xfrm>
              <a:off x="8549329" y="5201819"/>
              <a:ext cx="755084" cy="513322"/>
            </a:xfrm>
            <a:custGeom>
              <a:avLst/>
              <a:gdLst>
                <a:gd name="connsiteX0" fmla="*/ 0 w 484325"/>
                <a:gd name="connsiteY0" fmla="*/ 146073 h 329255"/>
                <a:gd name="connsiteX1" fmla="*/ 97702 w 484325"/>
                <a:gd name="connsiteY1" fmla="*/ 243775 h 329255"/>
                <a:gd name="connsiteX2" fmla="*/ 106441 w 484325"/>
                <a:gd name="connsiteY2" fmla="*/ 243775 h 329255"/>
                <a:gd name="connsiteX3" fmla="*/ 107656 w 484325"/>
                <a:gd name="connsiteY3" fmla="*/ 243775 h 329255"/>
                <a:gd name="connsiteX4" fmla="*/ 117237 w 484325"/>
                <a:gd name="connsiteY4" fmla="*/ 272541 h 329255"/>
                <a:gd name="connsiteX5" fmla="*/ 195871 w 484325"/>
                <a:gd name="connsiteY5" fmla="*/ 329255 h 329255"/>
                <a:gd name="connsiteX6" fmla="*/ 288478 w 484325"/>
                <a:gd name="connsiteY6" fmla="*/ 329255 h 329255"/>
                <a:gd name="connsiteX7" fmla="*/ 367111 w 484325"/>
                <a:gd name="connsiteY7" fmla="*/ 272541 h 329255"/>
                <a:gd name="connsiteX8" fmla="*/ 376669 w 484325"/>
                <a:gd name="connsiteY8" fmla="*/ 243775 h 329255"/>
                <a:gd name="connsiteX9" fmla="*/ 377884 w 484325"/>
                <a:gd name="connsiteY9" fmla="*/ 243775 h 329255"/>
                <a:gd name="connsiteX10" fmla="*/ 386647 w 484325"/>
                <a:gd name="connsiteY10" fmla="*/ 243775 h 329255"/>
                <a:gd name="connsiteX11" fmla="*/ 484325 w 484325"/>
                <a:gd name="connsiteY11" fmla="*/ 146073 h 329255"/>
                <a:gd name="connsiteX12" fmla="*/ 484325 w 484325"/>
                <a:gd name="connsiteY12" fmla="*/ 0 h 329255"/>
                <a:gd name="connsiteX13" fmla="*/ 0 w 484325"/>
                <a:gd name="connsiteY13" fmla="*/ 0 h 329255"/>
                <a:gd name="connsiteX14" fmla="*/ 0 w 484325"/>
                <a:gd name="connsiteY14" fmla="*/ 146073 h 32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4325" h="329255">
                  <a:moveTo>
                    <a:pt x="0" y="146073"/>
                  </a:moveTo>
                  <a:cubicBezTo>
                    <a:pt x="0" y="216201"/>
                    <a:pt x="27574" y="243775"/>
                    <a:pt x="97702" y="243775"/>
                  </a:cubicBezTo>
                  <a:lnTo>
                    <a:pt x="106441" y="243775"/>
                  </a:lnTo>
                  <a:lnTo>
                    <a:pt x="107656" y="243775"/>
                  </a:lnTo>
                  <a:lnTo>
                    <a:pt x="117237" y="272541"/>
                  </a:lnTo>
                  <a:cubicBezTo>
                    <a:pt x="131819" y="316379"/>
                    <a:pt x="149672" y="329255"/>
                    <a:pt x="195871" y="329255"/>
                  </a:cubicBezTo>
                  <a:lnTo>
                    <a:pt x="288478" y="329255"/>
                  </a:lnTo>
                  <a:cubicBezTo>
                    <a:pt x="334700" y="329255"/>
                    <a:pt x="352506" y="316379"/>
                    <a:pt x="367111" y="272541"/>
                  </a:cubicBezTo>
                  <a:lnTo>
                    <a:pt x="376669" y="243775"/>
                  </a:lnTo>
                  <a:lnTo>
                    <a:pt x="377884" y="243775"/>
                  </a:lnTo>
                  <a:lnTo>
                    <a:pt x="386647" y="243775"/>
                  </a:lnTo>
                  <a:cubicBezTo>
                    <a:pt x="456798" y="243775"/>
                    <a:pt x="484325" y="216201"/>
                    <a:pt x="484325" y="146073"/>
                  </a:cubicBezTo>
                  <a:lnTo>
                    <a:pt x="484325" y="0"/>
                  </a:lnTo>
                  <a:lnTo>
                    <a:pt x="0" y="0"/>
                  </a:lnTo>
                  <a:lnTo>
                    <a:pt x="0" y="146073"/>
                  </a:lnTo>
                  <a:close/>
                </a:path>
              </a:pathLst>
            </a:custGeom>
            <a:solidFill>
              <a:srgbClr val="FFFFFF"/>
            </a:solidFill>
            <a:ln w="233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sp>
          <p:nvSpPr>
            <p:cNvPr id="44" name="Freeform: Shape 43">
              <a:extLst>
                <a:ext uri="{FF2B5EF4-FFF2-40B4-BE49-F238E27FC236}">
                  <a16:creationId xmlns:a16="http://schemas.microsoft.com/office/drawing/2014/main" id="{17EDCADB-CE55-02DD-12D1-6D7F5C9160F6}"/>
                </a:ext>
              </a:extLst>
            </p:cNvPr>
            <p:cNvSpPr/>
            <p:nvPr/>
          </p:nvSpPr>
          <p:spPr>
            <a:xfrm>
              <a:off x="8851384" y="2436291"/>
              <a:ext cx="150972" cy="483265"/>
            </a:xfrm>
            <a:custGeom>
              <a:avLst/>
              <a:gdLst>
                <a:gd name="connsiteX0" fmla="*/ 48418 w 96836"/>
                <a:gd name="connsiteY0" fmla="*/ 309977 h 309976"/>
                <a:gd name="connsiteX1" fmla="*/ 96837 w 96836"/>
                <a:gd name="connsiteY1" fmla="*/ 261535 h 309976"/>
                <a:gd name="connsiteX2" fmla="*/ 96837 w 96836"/>
                <a:gd name="connsiteY2" fmla="*/ 48418 h 309976"/>
                <a:gd name="connsiteX3" fmla="*/ 48418 w 96836"/>
                <a:gd name="connsiteY3" fmla="*/ 0 h 309976"/>
                <a:gd name="connsiteX4" fmla="*/ 0 w 96836"/>
                <a:gd name="connsiteY4" fmla="*/ 48442 h 309976"/>
                <a:gd name="connsiteX5" fmla="*/ 0 w 96836"/>
                <a:gd name="connsiteY5" fmla="*/ 261558 h 309976"/>
                <a:gd name="connsiteX6" fmla="*/ 48418 w 96836"/>
                <a:gd name="connsiteY6" fmla="*/ 309977 h 309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36" h="309976">
                  <a:moveTo>
                    <a:pt x="48418" y="309977"/>
                  </a:moveTo>
                  <a:cubicBezTo>
                    <a:pt x="77862" y="309977"/>
                    <a:pt x="96837" y="290955"/>
                    <a:pt x="96837" y="261535"/>
                  </a:cubicBezTo>
                  <a:lnTo>
                    <a:pt x="96837" y="48418"/>
                  </a:lnTo>
                  <a:cubicBezTo>
                    <a:pt x="96837" y="18998"/>
                    <a:pt x="77862" y="0"/>
                    <a:pt x="48418" y="0"/>
                  </a:cubicBezTo>
                  <a:cubicBezTo>
                    <a:pt x="18998" y="0"/>
                    <a:pt x="0" y="18998"/>
                    <a:pt x="0" y="48442"/>
                  </a:cubicBezTo>
                  <a:lnTo>
                    <a:pt x="0" y="261558"/>
                  </a:lnTo>
                  <a:cubicBezTo>
                    <a:pt x="0" y="290978"/>
                    <a:pt x="18998" y="309977"/>
                    <a:pt x="48418" y="309977"/>
                  </a:cubicBezTo>
                  <a:close/>
                </a:path>
              </a:pathLst>
            </a:custGeom>
            <a:solidFill>
              <a:srgbClr val="FFFFFF"/>
            </a:solidFill>
            <a:ln w="233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sp>
          <p:nvSpPr>
            <p:cNvPr id="45" name="Freeform: Shape 44">
              <a:extLst>
                <a:ext uri="{FF2B5EF4-FFF2-40B4-BE49-F238E27FC236}">
                  <a16:creationId xmlns:a16="http://schemas.microsoft.com/office/drawing/2014/main" id="{A88F8634-92FB-ECCA-E3B4-5ED47E516B23}"/>
                </a:ext>
              </a:extLst>
            </p:cNvPr>
            <p:cNvSpPr/>
            <p:nvPr/>
          </p:nvSpPr>
          <p:spPr>
            <a:xfrm>
              <a:off x="9562934" y="2719584"/>
              <a:ext cx="359798" cy="417048"/>
            </a:xfrm>
            <a:custGeom>
              <a:avLst/>
              <a:gdLst>
                <a:gd name="connsiteX0" fmla="*/ 19955 w 230781"/>
                <a:gd name="connsiteY0" fmla="*/ 255902 h 267503"/>
                <a:gd name="connsiteX1" fmla="*/ 87956 w 230781"/>
                <a:gd name="connsiteY1" fmla="*/ 247559 h 267503"/>
                <a:gd name="connsiteX2" fmla="*/ 219144 w 230781"/>
                <a:gd name="connsiteY2" fmla="*/ 79613 h 267503"/>
                <a:gd name="connsiteX3" fmla="*/ 210825 w 230781"/>
                <a:gd name="connsiteY3" fmla="*/ 11636 h 267503"/>
                <a:gd name="connsiteX4" fmla="*/ 142824 w 230781"/>
                <a:gd name="connsiteY4" fmla="*/ 19978 h 267503"/>
                <a:gd name="connsiteX5" fmla="*/ 11659 w 230781"/>
                <a:gd name="connsiteY5" fmla="*/ 187901 h 267503"/>
                <a:gd name="connsiteX6" fmla="*/ 19955 w 230781"/>
                <a:gd name="connsiteY6" fmla="*/ 255902 h 267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781" h="267503">
                  <a:moveTo>
                    <a:pt x="19955" y="255902"/>
                  </a:moveTo>
                  <a:cubicBezTo>
                    <a:pt x="43183" y="273988"/>
                    <a:pt x="69846" y="270717"/>
                    <a:pt x="87956" y="247559"/>
                  </a:cubicBezTo>
                  <a:lnTo>
                    <a:pt x="219144" y="79613"/>
                  </a:lnTo>
                  <a:cubicBezTo>
                    <a:pt x="237277" y="56432"/>
                    <a:pt x="234006" y="29723"/>
                    <a:pt x="210825" y="11636"/>
                  </a:cubicBezTo>
                  <a:cubicBezTo>
                    <a:pt x="187644" y="-6498"/>
                    <a:pt x="160934" y="-3226"/>
                    <a:pt x="142824" y="19978"/>
                  </a:cubicBezTo>
                  <a:lnTo>
                    <a:pt x="11659" y="187901"/>
                  </a:lnTo>
                  <a:cubicBezTo>
                    <a:pt x="-6521" y="211105"/>
                    <a:pt x="-3203" y="237791"/>
                    <a:pt x="19955" y="255902"/>
                  </a:cubicBezTo>
                  <a:close/>
                </a:path>
              </a:pathLst>
            </a:custGeom>
            <a:solidFill>
              <a:srgbClr val="FFFFFF"/>
            </a:solidFill>
            <a:ln w="233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sp>
          <p:nvSpPr>
            <p:cNvPr id="46" name="Freeform: Shape 45">
              <a:extLst>
                <a:ext uri="{FF2B5EF4-FFF2-40B4-BE49-F238E27FC236}">
                  <a16:creationId xmlns:a16="http://schemas.microsoft.com/office/drawing/2014/main" id="{83F68D7C-0960-1572-3F8B-0BCB6887233A}"/>
                </a:ext>
              </a:extLst>
            </p:cNvPr>
            <p:cNvSpPr/>
            <p:nvPr/>
          </p:nvSpPr>
          <p:spPr>
            <a:xfrm>
              <a:off x="9954438" y="3521368"/>
              <a:ext cx="474732" cy="232682"/>
            </a:xfrm>
            <a:custGeom>
              <a:avLst/>
              <a:gdLst>
                <a:gd name="connsiteX0" fmla="*/ 302655 w 304502"/>
                <a:gd name="connsiteY0" fmla="*/ 37133 h 149247"/>
                <a:gd name="connsiteX1" fmla="*/ 243932 w 304502"/>
                <a:gd name="connsiteY1" fmla="*/ 1848 h 149247"/>
                <a:gd name="connsiteX2" fmla="*/ 37125 w 304502"/>
                <a:gd name="connsiteY2" fmla="*/ 53421 h 149247"/>
                <a:gd name="connsiteX3" fmla="*/ 1839 w 304502"/>
                <a:gd name="connsiteY3" fmla="*/ 112121 h 149247"/>
                <a:gd name="connsiteX4" fmla="*/ 60563 w 304502"/>
                <a:gd name="connsiteY4" fmla="*/ 147407 h 149247"/>
                <a:gd name="connsiteX5" fmla="*/ 267347 w 304502"/>
                <a:gd name="connsiteY5" fmla="*/ 95857 h 149247"/>
                <a:gd name="connsiteX6" fmla="*/ 302655 w 304502"/>
                <a:gd name="connsiteY6" fmla="*/ 37133 h 14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502" h="149247">
                  <a:moveTo>
                    <a:pt x="302655" y="37133"/>
                  </a:moveTo>
                  <a:cubicBezTo>
                    <a:pt x="295505" y="8578"/>
                    <a:pt x="272487" y="-5280"/>
                    <a:pt x="243932" y="1848"/>
                  </a:cubicBezTo>
                  <a:lnTo>
                    <a:pt x="37125" y="53421"/>
                  </a:lnTo>
                  <a:cubicBezTo>
                    <a:pt x="8569" y="60548"/>
                    <a:pt x="-5265" y="83566"/>
                    <a:pt x="1839" y="112121"/>
                  </a:cubicBezTo>
                  <a:cubicBezTo>
                    <a:pt x="8966" y="140700"/>
                    <a:pt x="32007" y="154511"/>
                    <a:pt x="60563" y="147407"/>
                  </a:cubicBezTo>
                  <a:lnTo>
                    <a:pt x="267347" y="95857"/>
                  </a:lnTo>
                  <a:cubicBezTo>
                    <a:pt x="295926" y="88730"/>
                    <a:pt x="309783" y="65689"/>
                    <a:pt x="302655" y="37133"/>
                  </a:cubicBezTo>
                  <a:close/>
                </a:path>
              </a:pathLst>
            </a:custGeom>
            <a:solidFill>
              <a:srgbClr val="FFFFFF"/>
            </a:solidFill>
            <a:ln w="233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sp>
          <p:nvSpPr>
            <p:cNvPr id="47" name="Freeform: Shape 46">
              <a:extLst>
                <a:ext uri="{FF2B5EF4-FFF2-40B4-BE49-F238E27FC236}">
                  <a16:creationId xmlns:a16="http://schemas.microsoft.com/office/drawing/2014/main" id="{5459A621-8BC7-682C-6C2F-6DDFE41F2817}"/>
                </a:ext>
              </a:extLst>
            </p:cNvPr>
            <p:cNvSpPr/>
            <p:nvPr/>
          </p:nvSpPr>
          <p:spPr>
            <a:xfrm>
              <a:off x="9854900" y="4314501"/>
              <a:ext cx="457263" cy="288926"/>
            </a:xfrm>
            <a:custGeom>
              <a:avLst/>
              <a:gdLst>
                <a:gd name="connsiteX0" fmla="*/ 263682 w 293297"/>
                <a:gd name="connsiteY0" fmla="*/ 91736 h 185323"/>
                <a:gd name="connsiteX1" fmla="*/ 69003 w 293297"/>
                <a:gd name="connsiteY1" fmla="*/ 5064 h 185323"/>
                <a:gd name="connsiteX2" fmla="*/ 5068 w 293297"/>
                <a:gd name="connsiteY2" fmla="*/ 29647 h 185323"/>
                <a:gd name="connsiteX3" fmla="*/ 29628 w 293297"/>
                <a:gd name="connsiteY3" fmla="*/ 93605 h 185323"/>
                <a:gd name="connsiteX4" fmla="*/ 224283 w 293297"/>
                <a:gd name="connsiteY4" fmla="*/ 180230 h 185323"/>
                <a:gd name="connsiteX5" fmla="*/ 288218 w 293297"/>
                <a:gd name="connsiteY5" fmla="*/ 155694 h 185323"/>
                <a:gd name="connsiteX6" fmla="*/ 263682 w 293297"/>
                <a:gd name="connsiteY6" fmla="*/ 91736 h 18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297" h="185323">
                  <a:moveTo>
                    <a:pt x="263682" y="91736"/>
                  </a:moveTo>
                  <a:lnTo>
                    <a:pt x="69003" y="5064"/>
                  </a:lnTo>
                  <a:cubicBezTo>
                    <a:pt x="42130" y="-6901"/>
                    <a:pt x="17009" y="2750"/>
                    <a:pt x="5068" y="29647"/>
                  </a:cubicBezTo>
                  <a:cubicBezTo>
                    <a:pt x="-6896" y="56543"/>
                    <a:pt x="2731" y="81617"/>
                    <a:pt x="29628" y="93605"/>
                  </a:cubicBezTo>
                  <a:lnTo>
                    <a:pt x="224283" y="180230"/>
                  </a:lnTo>
                  <a:cubicBezTo>
                    <a:pt x="251157" y="192241"/>
                    <a:pt x="276277" y="182590"/>
                    <a:pt x="288218" y="155694"/>
                  </a:cubicBezTo>
                  <a:cubicBezTo>
                    <a:pt x="300206" y="128844"/>
                    <a:pt x="290555" y="103747"/>
                    <a:pt x="263682" y="91736"/>
                  </a:cubicBezTo>
                  <a:close/>
                </a:path>
              </a:pathLst>
            </a:custGeom>
            <a:solidFill>
              <a:srgbClr val="FFFFFF"/>
            </a:solidFill>
            <a:ln w="233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sp>
          <p:nvSpPr>
            <p:cNvPr id="48" name="Freeform: Shape 47">
              <a:extLst>
                <a:ext uri="{FF2B5EF4-FFF2-40B4-BE49-F238E27FC236}">
                  <a16:creationId xmlns:a16="http://schemas.microsoft.com/office/drawing/2014/main" id="{4572D4E5-8B0F-AD91-202F-DC8B4A9A2A7B}"/>
                </a:ext>
              </a:extLst>
            </p:cNvPr>
            <p:cNvSpPr/>
            <p:nvPr/>
          </p:nvSpPr>
          <p:spPr>
            <a:xfrm>
              <a:off x="7931096" y="2719613"/>
              <a:ext cx="359755" cy="417033"/>
            </a:xfrm>
            <a:custGeom>
              <a:avLst/>
              <a:gdLst>
                <a:gd name="connsiteX0" fmla="*/ 142816 w 230754"/>
                <a:gd name="connsiteY0" fmla="*/ 247542 h 267493"/>
                <a:gd name="connsiteX1" fmla="*/ 210793 w 230754"/>
                <a:gd name="connsiteY1" fmla="*/ 255884 h 267493"/>
                <a:gd name="connsiteX2" fmla="*/ 219136 w 230754"/>
                <a:gd name="connsiteY2" fmla="*/ 187884 h 267493"/>
                <a:gd name="connsiteX3" fmla="*/ 87925 w 230754"/>
                <a:gd name="connsiteY3" fmla="*/ 19961 h 267493"/>
                <a:gd name="connsiteX4" fmla="*/ 19947 w 230754"/>
                <a:gd name="connsiteY4" fmla="*/ 11619 h 267493"/>
                <a:gd name="connsiteX5" fmla="*/ 11628 w 230754"/>
                <a:gd name="connsiteY5" fmla="*/ 79596 h 267493"/>
                <a:gd name="connsiteX6" fmla="*/ 142816 w 230754"/>
                <a:gd name="connsiteY6" fmla="*/ 247542 h 2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754" h="267493">
                  <a:moveTo>
                    <a:pt x="142816" y="247542"/>
                  </a:moveTo>
                  <a:cubicBezTo>
                    <a:pt x="160926" y="270723"/>
                    <a:pt x="187612" y="273971"/>
                    <a:pt x="210793" y="255884"/>
                  </a:cubicBezTo>
                  <a:cubicBezTo>
                    <a:pt x="233975" y="237751"/>
                    <a:pt x="237246" y="211088"/>
                    <a:pt x="219136" y="187884"/>
                  </a:cubicBezTo>
                  <a:lnTo>
                    <a:pt x="87925" y="19961"/>
                  </a:lnTo>
                  <a:cubicBezTo>
                    <a:pt x="69814" y="-3220"/>
                    <a:pt x="43128" y="-6491"/>
                    <a:pt x="19947" y="11619"/>
                  </a:cubicBezTo>
                  <a:cubicBezTo>
                    <a:pt x="-3234" y="29729"/>
                    <a:pt x="-6482" y="56415"/>
                    <a:pt x="11628" y="79596"/>
                  </a:cubicBezTo>
                  <a:lnTo>
                    <a:pt x="142816" y="247542"/>
                  </a:lnTo>
                  <a:close/>
                </a:path>
              </a:pathLst>
            </a:custGeom>
            <a:solidFill>
              <a:srgbClr val="FFFFFF"/>
            </a:solidFill>
            <a:ln w="233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sp>
          <p:nvSpPr>
            <p:cNvPr id="49" name="Freeform: Shape 48">
              <a:extLst>
                <a:ext uri="{FF2B5EF4-FFF2-40B4-BE49-F238E27FC236}">
                  <a16:creationId xmlns:a16="http://schemas.microsoft.com/office/drawing/2014/main" id="{C88C8366-A746-6711-E51E-73547498654E}"/>
                </a:ext>
              </a:extLst>
            </p:cNvPr>
            <p:cNvSpPr/>
            <p:nvPr/>
          </p:nvSpPr>
          <p:spPr>
            <a:xfrm>
              <a:off x="7424596" y="3521398"/>
              <a:ext cx="474683" cy="232654"/>
            </a:xfrm>
            <a:custGeom>
              <a:avLst/>
              <a:gdLst>
                <a:gd name="connsiteX0" fmla="*/ 302624 w 304471"/>
                <a:gd name="connsiteY0" fmla="*/ 112126 h 149229"/>
                <a:gd name="connsiteX1" fmla="*/ 267338 w 304471"/>
                <a:gd name="connsiteY1" fmla="*/ 53402 h 149229"/>
                <a:gd name="connsiteX2" fmla="*/ 60555 w 304471"/>
                <a:gd name="connsiteY2" fmla="*/ 1829 h 149229"/>
                <a:gd name="connsiteX3" fmla="*/ 1831 w 304471"/>
                <a:gd name="connsiteY3" fmla="*/ 37138 h 149229"/>
                <a:gd name="connsiteX4" fmla="*/ 37140 w 304471"/>
                <a:gd name="connsiteY4" fmla="*/ 95839 h 149229"/>
                <a:gd name="connsiteX5" fmla="*/ 243900 w 304471"/>
                <a:gd name="connsiteY5" fmla="*/ 147388 h 149229"/>
                <a:gd name="connsiteX6" fmla="*/ 302624 w 304471"/>
                <a:gd name="connsiteY6" fmla="*/ 112126 h 14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471" h="149229">
                  <a:moveTo>
                    <a:pt x="302624" y="112126"/>
                  </a:moveTo>
                  <a:cubicBezTo>
                    <a:pt x="309751" y="83547"/>
                    <a:pt x="295894" y="60529"/>
                    <a:pt x="267338" y="53402"/>
                  </a:cubicBezTo>
                  <a:lnTo>
                    <a:pt x="60555" y="1829"/>
                  </a:lnTo>
                  <a:cubicBezTo>
                    <a:pt x="31999" y="-5251"/>
                    <a:pt x="8958" y="8582"/>
                    <a:pt x="1831" y="37138"/>
                  </a:cubicBezTo>
                  <a:cubicBezTo>
                    <a:pt x="-5250" y="65694"/>
                    <a:pt x="8561" y="88711"/>
                    <a:pt x="37140" y="95839"/>
                  </a:cubicBezTo>
                  <a:lnTo>
                    <a:pt x="243900" y="147388"/>
                  </a:lnTo>
                  <a:cubicBezTo>
                    <a:pt x="272456" y="154492"/>
                    <a:pt x="295496" y="140682"/>
                    <a:pt x="302624" y="112126"/>
                  </a:cubicBezTo>
                  <a:close/>
                </a:path>
              </a:pathLst>
            </a:custGeom>
            <a:solidFill>
              <a:srgbClr val="FFFFFF"/>
            </a:solidFill>
            <a:ln w="233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sp>
          <p:nvSpPr>
            <p:cNvPr id="50" name="Freeform: Shape 49">
              <a:extLst>
                <a:ext uri="{FF2B5EF4-FFF2-40B4-BE49-F238E27FC236}">
                  <a16:creationId xmlns:a16="http://schemas.microsoft.com/office/drawing/2014/main" id="{9F079992-60D5-C9B3-7C99-7DB1A2329B6C}"/>
                </a:ext>
              </a:extLst>
            </p:cNvPr>
            <p:cNvSpPr/>
            <p:nvPr/>
          </p:nvSpPr>
          <p:spPr>
            <a:xfrm>
              <a:off x="7541608" y="4314539"/>
              <a:ext cx="457292" cy="288898"/>
            </a:xfrm>
            <a:custGeom>
              <a:avLst/>
              <a:gdLst>
                <a:gd name="connsiteX0" fmla="*/ 224298 w 293316"/>
                <a:gd name="connsiteY0" fmla="*/ 5039 h 185305"/>
                <a:gd name="connsiteX1" fmla="*/ 29619 w 293316"/>
                <a:gd name="connsiteY1" fmla="*/ 91758 h 185305"/>
                <a:gd name="connsiteX2" fmla="*/ 5083 w 293316"/>
                <a:gd name="connsiteY2" fmla="*/ 155669 h 185305"/>
                <a:gd name="connsiteX3" fmla="*/ 69018 w 293316"/>
                <a:gd name="connsiteY3" fmla="*/ 180252 h 185305"/>
                <a:gd name="connsiteX4" fmla="*/ 263697 w 293316"/>
                <a:gd name="connsiteY4" fmla="*/ 93534 h 185305"/>
                <a:gd name="connsiteX5" fmla="*/ 288233 w 293316"/>
                <a:gd name="connsiteY5" fmla="*/ 29622 h 185305"/>
                <a:gd name="connsiteX6" fmla="*/ 224298 w 293316"/>
                <a:gd name="connsiteY6" fmla="*/ 5039 h 185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316" h="185305">
                  <a:moveTo>
                    <a:pt x="224298" y="5039"/>
                  </a:moveTo>
                  <a:lnTo>
                    <a:pt x="29619" y="91758"/>
                  </a:lnTo>
                  <a:cubicBezTo>
                    <a:pt x="2723" y="103699"/>
                    <a:pt x="-6905" y="128819"/>
                    <a:pt x="5083" y="155669"/>
                  </a:cubicBezTo>
                  <a:cubicBezTo>
                    <a:pt x="17024" y="182566"/>
                    <a:pt x="42145" y="192193"/>
                    <a:pt x="69018" y="180252"/>
                  </a:cubicBezTo>
                  <a:lnTo>
                    <a:pt x="263697" y="93534"/>
                  </a:lnTo>
                  <a:cubicBezTo>
                    <a:pt x="290593" y="81593"/>
                    <a:pt x="300221" y="56472"/>
                    <a:pt x="288233" y="29622"/>
                  </a:cubicBezTo>
                  <a:cubicBezTo>
                    <a:pt x="276269" y="2749"/>
                    <a:pt x="251195" y="-6879"/>
                    <a:pt x="224298" y="5039"/>
                  </a:cubicBezTo>
                  <a:close/>
                </a:path>
              </a:pathLst>
            </a:custGeom>
            <a:solidFill>
              <a:srgbClr val="FFFFFF"/>
            </a:solidFill>
            <a:ln w="233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sp>
          <p:nvSpPr>
            <p:cNvPr id="51" name="Graphic 94">
              <a:extLst>
                <a:ext uri="{FF2B5EF4-FFF2-40B4-BE49-F238E27FC236}">
                  <a16:creationId xmlns:a16="http://schemas.microsoft.com/office/drawing/2014/main" id="{26EB8F48-2A71-C75D-93C3-6F833F9D6946}"/>
                </a:ext>
              </a:extLst>
            </p:cNvPr>
            <p:cNvSpPr/>
            <p:nvPr/>
          </p:nvSpPr>
          <p:spPr>
            <a:xfrm>
              <a:off x="8595440" y="3597916"/>
              <a:ext cx="662860" cy="994292"/>
            </a:xfrm>
            <a:custGeom>
              <a:avLst/>
              <a:gdLst>
                <a:gd name="connsiteX0" fmla="*/ 231788 w 463576"/>
                <a:gd name="connsiteY0" fmla="*/ 0 h 695365"/>
                <a:gd name="connsiteX1" fmla="*/ 0 w 463576"/>
                <a:gd name="connsiteY1" fmla="*/ 231788 h 695365"/>
                <a:gd name="connsiteX2" fmla="*/ 57947 w 463576"/>
                <a:gd name="connsiteY2" fmla="*/ 289736 h 695365"/>
                <a:gd name="connsiteX3" fmla="*/ 115894 w 463576"/>
                <a:gd name="connsiteY3" fmla="*/ 231788 h 695365"/>
                <a:gd name="connsiteX4" fmla="*/ 231788 w 463576"/>
                <a:gd name="connsiteY4" fmla="*/ 115894 h 695365"/>
                <a:gd name="connsiteX5" fmla="*/ 347683 w 463576"/>
                <a:gd name="connsiteY5" fmla="*/ 231788 h 695365"/>
                <a:gd name="connsiteX6" fmla="*/ 173996 w 463576"/>
                <a:gd name="connsiteY6" fmla="*/ 521215 h 695365"/>
                <a:gd name="connsiteX7" fmla="*/ 289890 w 463576"/>
                <a:gd name="connsiteY7" fmla="*/ 521215 h 695365"/>
                <a:gd name="connsiteX8" fmla="*/ 463577 w 463576"/>
                <a:gd name="connsiteY8" fmla="*/ 231788 h 695365"/>
                <a:gd name="connsiteX9" fmla="*/ 231788 w 463576"/>
                <a:gd name="connsiteY9" fmla="*/ 0 h 695365"/>
                <a:gd name="connsiteX10" fmla="*/ 231788 w 463576"/>
                <a:gd name="connsiteY10" fmla="*/ 579471 h 695365"/>
                <a:gd name="connsiteX11" fmla="*/ 173764 w 463576"/>
                <a:gd name="connsiteY11" fmla="*/ 637341 h 695365"/>
                <a:gd name="connsiteX12" fmla="*/ 231634 w 463576"/>
                <a:gd name="connsiteY12" fmla="*/ 695365 h 695365"/>
                <a:gd name="connsiteX13" fmla="*/ 289658 w 463576"/>
                <a:gd name="connsiteY13" fmla="*/ 637495 h 695365"/>
                <a:gd name="connsiteX14" fmla="*/ 289658 w 463576"/>
                <a:gd name="connsiteY14" fmla="*/ 637418 h 695365"/>
                <a:gd name="connsiteX15" fmla="*/ 231866 w 463576"/>
                <a:gd name="connsiteY15" fmla="*/ 579471 h 695365"/>
                <a:gd name="connsiteX16" fmla="*/ 231788 w 463576"/>
                <a:gd name="connsiteY16" fmla="*/ 579471 h 695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3576" h="695365">
                  <a:moveTo>
                    <a:pt x="231788" y="0"/>
                  </a:moveTo>
                  <a:cubicBezTo>
                    <a:pt x="103776" y="0"/>
                    <a:pt x="0" y="103776"/>
                    <a:pt x="0" y="231788"/>
                  </a:cubicBezTo>
                  <a:cubicBezTo>
                    <a:pt x="0" y="263791"/>
                    <a:pt x="25944" y="289736"/>
                    <a:pt x="57947" y="289736"/>
                  </a:cubicBezTo>
                  <a:cubicBezTo>
                    <a:pt x="89950" y="289736"/>
                    <a:pt x="115894" y="263791"/>
                    <a:pt x="115894" y="231788"/>
                  </a:cubicBezTo>
                  <a:cubicBezTo>
                    <a:pt x="115894" y="167782"/>
                    <a:pt x="167782" y="115894"/>
                    <a:pt x="231788" y="115894"/>
                  </a:cubicBezTo>
                  <a:cubicBezTo>
                    <a:pt x="295795" y="115894"/>
                    <a:pt x="347683" y="167782"/>
                    <a:pt x="347683" y="231788"/>
                  </a:cubicBezTo>
                  <a:cubicBezTo>
                    <a:pt x="347683" y="351778"/>
                    <a:pt x="173996" y="315000"/>
                    <a:pt x="173996" y="521215"/>
                  </a:cubicBezTo>
                  <a:lnTo>
                    <a:pt x="289890" y="521215"/>
                  </a:lnTo>
                  <a:cubicBezTo>
                    <a:pt x="289658" y="411038"/>
                    <a:pt x="463577" y="424945"/>
                    <a:pt x="463577" y="231788"/>
                  </a:cubicBezTo>
                  <a:cubicBezTo>
                    <a:pt x="463577" y="103776"/>
                    <a:pt x="359801" y="0"/>
                    <a:pt x="231788" y="0"/>
                  </a:cubicBezTo>
                  <a:close/>
                  <a:moveTo>
                    <a:pt x="231788" y="579471"/>
                  </a:moveTo>
                  <a:cubicBezTo>
                    <a:pt x="199785" y="579429"/>
                    <a:pt x="173807" y="605338"/>
                    <a:pt x="173764" y="637341"/>
                  </a:cubicBezTo>
                  <a:cubicBezTo>
                    <a:pt x="173722" y="669344"/>
                    <a:pt x="199631" y="695323"/>
                    <a:pt x="231634" y="695365"/>
                  </a:cubicBezTo>
                  <a:cubicBezTo>
                    <a:pt x="263637" y="695408"/>
                    <a:pt x="289616" y="669498"/>
                    <a:pt x="289658" y="637495"/>
                  </a:cubicBezTo>
                  <a:cubicBezTo>
                    <a:pt x="289658" y="637470"/>
                    <a:pt x="289658" y="637444"/>
                    <a:pt x="289658" y="637418"/>
                  </a:cubicBezTo>
                  <a:cubicBezTo>
                    <a:pt x="289701" y="605458"/>
                    <a:pt x="263826" y="579514"/>
                    <a:pt x="231866" y="579471"/>
                  </a:cubicBezTo>
                  <a:cubicBezTo>
                    <a:pt x="231840" y="579471"/>
                    <a:pt x="231814" y="579471"/>
                    <a:pt x="231788" y="579471"/>
                  </a:cubicBezTo>
                  <a:close/>
                </a:path>
              </a:pathLst>
            </a:custGeom>
            <a:solidFill>
              <a:srgbClr val="145275"/>
            </a:solidFill>
            <a:ln w="7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grpSp>
      <p:cxnSp>
        <p:nvCxnSpPr>
          <p:cNvPr id="26" name="Straight Connector 25">
            <a:extLst>
              <a:ext uri="{FF2B5EF4-FFF2-40B4-BE49-F238E27FC236}">
                <a16:creationId xmlns:a16="http://schemas.microsoft.com/office/drawing/2014/main" id="{87C8F8B4-A87D-BA32-0A11-9B7CBCD29B88}"/>
              </a:ext>
            </a:extLst>
          </p:cNvPr>
          <p:cNvCxnSpPr>
            <a:cxnSpLocks/>
          </p:cNvCxnSpPr>
          <p:nvPr/>
        </p:nvCxnSpPr>
        <p:spPr>
          <a:xfrm>
            <a:off x="582934" y="3922482"/>
            <a:ext cx="176021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4F6DEAF3-7424-4563-FA07-85A982FA1F8E}"/>
              </a:ext>
            </a:extLst>
          </p:cNvPr>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27" name="Picture 26">
            <a:extLst>
              <a:ext uri="{FF2B5EF4-FFF2-40B4-BE49-F238E27FC236}">
                <a16:creationId xmlns:a16="http://schemas.microsoft.com/office/drawing/2014/main" id="{83C0B3B1-5976-2CC6-6B36-89FA1B0E182C}"/>
              </a:ext>
            </a:extLst>
          </p:cNvPr>
          <p:cNvPicPr>
            <a:picLocks noChangeAspect="1"/>
          </p:cNvPicPr>
          <p:nvPr/>
        </p:nvPicPr>
        <p:blipFill>
          <a:blip r:embed="rId8" cstate="hqprint">
            <a:biLevel thresh="25000"/>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Tree>
    <p:extLst>
      <p:ext uri="{BB962C8B-B14F-4D97-AF65-F5344CB8AC3E}">
        <p14:creationId xmlns:p14="http://schemas.microsoft.com/office/powerpoint/2010/main" val="5370069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8CE9BFC-8864-4B3F-B888-5F528EA261BC}"/>
              </a:ext>
            </a:extLst>
          </p:cNvPr>
          <p:cNvSpPr>
            <a:spLocks noGrp="1"/>
          </p:cNvSpPr>
          <p:nvPr>
            <p:ph type="sldNum" idx="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GB"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6</a:t>
            </a:fld>
            <a:endParaRPr kumimoji="0" lang="en-GB"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pic>
        <p:nvPicPr>
          <p:cNvPr id="64" name="Graphic 63">
            <a:extLst>
              <a:ext uri="{FF2B5EF4-FFF2-40B4-BE49-F238E27FC236}">
                <a16:creationId xmlns:a16="http://schemas.microsoft.com/office/drawing/2014/main" id="{0DF25A1C-C368-CC51-402B-5A1384573F1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293081" y="1722452"/>
            <a:ext cx="503994" cy="503994"/>
          </a:xfrm>
          <a:prstGeom prst="rect">
            <a:avLst/>
          </a:prstGeom>
        </p:spPr>
      </p:pic>
      <p:pic>
        <p:nvPicPr>
          <p:cNvPr id="20" name="Graphic 19">
            <a:extLst>
              <a:ext uri="{FF2B5EF4-FFF2-40B4-BE49-F238E27FC236}">
                <a16:creationId xmlns:a16="http://schemas.microsoft.com/office/drawing/2014/main" id="{8EFCB2BD-C592-0940-1BB4-9550D8AEE68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V="1">
            <a:off x="5238530" y="1722452"/>
            <a:ext cx="503994" cy="503994"/>
          </a:xfrm>
          <a:prstGeom prst="rect">
            <a:avLst/>
          </a:prstGeom>
        </p:spPr>
      </p:pic>
      <p:pic>
        <p:nvPicPr>
          <p:cNvPr id="12" name="Picture 11">
            <a:extLst>
              <a:ext uri="{FF2B5EF4-FFF2-40B4-BE49-F238E27FC236}">
                <a16:creationId xmlns:a16="http://schemas.microsoft.com/office/drawing/2014/main" id="{C5601964-39A7-7B75-5055-F8774F57825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13" name="Picture 12">
            <a:extLst>
              <a:ext uri="{FF2B5EF4-FFF2-40B4-BE49-F238E27FC236}">
                <a16:creationId xmlns:a16="http://schemas.microsoft.com/office/drawing/2014/main" id="{4C38132E-6E80-9D1F-CFB6-7D9F5B5A374F}"/>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graphicFrame>
        <p:nvGraphicFramePr>
          <p:cNvPr id="15" name="Table 14">
            <a:extLst>
              <a:ext uri="{FF2B5EF4-FFF2-40B4-BE49-F238E27FC236}">
                <a16:creationId xmlns:a16="http://schemas.microsoft.com/office/drawing/2014/main" id="{4DB2B9BC-6216-46D8-2DC0-CF36A03C432E}"/>
              </a:ext>
            </a:extLst>
          </p:cNvPr>
          <p:cNvGraphicFramePr>
            <a:graphicFrameLocks noGrp="1"/>
          </p:cNvGraphicFramePr>
          <p:nvPr/>
        </p:nvGraphicFramePr>
        <p:xfrm>
          <a:off x="0" y="426106"/>
          <a:ext cx="12191999" cy="701040"/>
        </p:xfrm>
        <a:graphic>
          <a:graphicData uri="http://schemas.openxmlformats.org/drawingml/2006/table">
            <a:tbl>
              <a:tblPr/>
              <a:tblGrid>
                <a:gridCol w="11784605">
                  <a:extLst>
                    <a:ext uri="{9D8B030D-6E8A-4147-A177-3AD203B41FA5}">
                      <a16:colId xmlns:a16="http://schemas.microsoft.com/office/drawing/2014/main" val="2464318729"/>
                    </a:ext>
                  </a:extLst>
                </a:gridCol>
                <a:gridCol w="407394">
                  <a:extLst>
                    <a:ext uri="{9D8B030D-6E8A-4147-A177-3AD203B41FA5}">
                      <a16:colId xmlns:a16="http://schemas.microsoft.com/office/drawing/2014/main" val="89830715"/>
                    </a:ext>
                  </a:extLst>
                </a:gridCol>
              </a:tblGrid>
              <a:tr h="0">
                <a:tc>
                  <a:txBody>
                    <a:bodyPr/>
                    <a:lstStyle/>
                    <a:p>
                      <a:pPr algn="ctr"/>
                      <a:r>
                        <a:rPr lang="en-US" sz="4000" b="1">
                          <a:solidFill>
                            <a:schemeClr val="tx2">
                              <a:lumMod val="50000"/>
                            </a:schemeClr>
                          </a:solidFill>
                          <a:effectLst/>
                          <a:latin typeface="Poppins" panose="00000500000000000000" pitchFamily="2" charset="0"/>
                          <a:cs typeface="Poppins" panose="00000500000000000000" pitchFamily="2" charset="0"/>
                        </a:rPr>
                        <a:t>Reminders</a:t>
                      </a:r>
                      <a:endParaRPr lang="en-US" sz="4000">
                        <a:solidFill>
                          <a:schemeClr val="tx2">
                            <a:lumMod val="50000"/>
                          </a:schemeClr>
                        </a:solidFill>
                        <a:effectLst/>
                        <a:latin typeface="Poppins" panose="00000500000000000000" pitchFamily="2" charset="0"/>
                        <a:cs typeface="Poppins" panose="00000500000000000000" pitchFamily="2" charset="0"/>
                      </a:endParaRPr>
                    </a:p>
                  </a:txBody>
                  <a:tcPr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algn="ctr"/>
                      <a:endParaRPr lang="en-US">
                        <a:effectLst/>
                      </a:endParaRPr>
                    </a:p>
                  </a:txBody>
                  <a:tcPr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661330346"/>
                  </a:ext>
                </a:extLst>
              </a:tr>
            </a:tbl>
          </a:graphicData>
        </a:graphic>
      </p:graphicFrame>
      <p:sp>
        <p:nvSpPr>
          <p:cNvPr id="23" name="TextBox 22">
            <a:extLst>
              <a:ext uri="{FF2B5EF4-FFF2-40B4-BE49-F238E27FC236}">
                <a16:creationId xmlns:a16="http://schemas.microsoft.com/office/drawing/2014/main" id="{DBB77663-A8BC-6631-096F-C6B47EBB66D3}"/>
              </a:ext>
            </a:extLst>
          </p:cNvPr>
          <p:cNvSpPr txBox="1"/>
          <p:nvPr/>
        </p:nvSpPr>
        <p:spPr>
          <a:xfrm>
            <a:off x="560408" y="2017555"/>
            <a:ext cx="6094070" cy="707886"/>
          </a:xfrm>
          <a:prstGeom prst="rect">
            <a:avLst/>
          </a:prstGeom>
          <a:noFill/>
        </p:spPr>
        <p:txBody>
          <a:bodyPr wrap="square">
            <a:spAutoFit/>
          </a:bodyPr>
          <a:lstStyle/>
          <a:p>
            <a:pPr marL="285750" indent="-285750">
              <a:buFont typeface="Arial" panose="020B0604020202020204" pitchFamily="34" charset="0"/>
              <a:buChar char="•"/>
            </a:pPr>
            <a:r>
              <a:rPr lang="en-GB" sz="2000">
                <a:solidFill>
                  <a:srgbClr val="145275"/>
                </a:solidFill>
                <a:latin typeface="Poppins" panose="00000500000000000000" pitchFamily="2" charset="0"/>
                <a:cs typeface="Poppins" panose="00000500000000000000" pitchFamily="2" charset="0"/>
              </a:rPr>
              <a:t>Tues</a:t>
            </a:r>
            <a:r>
              <a:rPr lang="en-GB" sz="2000" b="0">
                <a:solidFill>
                  <a:srgbClr val="145275"/>
                </a:solidFill>
                <a:latin typeface="Poppins" panose="00000500000000000000" pitchFamily="2" charset="0"/>
                <a:cs typeface="Poppins" panose="00000500000000000000" pitchFamily="2" charset="0"/>
              </a:rPr>
              <a:t>days</a:t>
            </a:r>
          </a:p>
          <a:p>
            <a:pPr marL="285750" indent="-285750">
              <a:buFont typeface="Arial" panose="020B0604020202020204" pitchFamily="34" charset="0"/>
              <a:buChar char="•"/>
            </a:pPr>
            <a:r>
              <a:rPr lang="en-GB" sz="2000">
                <a:solidFill>
                  <a:srgbClr val="145275"/>
                </a:solidFill>
                <a:latin typeface="Poppins" panose="00000500000000000000" pitchFamily="2" charset="0"/>
                <a:cs typeface="Poppins" panose="00000500000000000000" pitchFamily="2" charset="0"/>
              </a:rPr>
              <a:t>Thursdays</a:t>
            </a:r>
            <a:endParaRPr lang="en-US" sz="2000"/>
          </a:p>
        </p:txBody>
      </p:sp>
      <p:sp>
        <p:nvSpPr>
          <p:cNvPr id="26" name="TextBox 25">
            <a:extLst>
              <a:ext uri="{FF2B5EF4-FFF2-40B4-BE49-F238E27FC236}">
                <a16:creationId xmlns:a16="http://schemas.microsoft.com/office/drawing/2014/main" id="{EE2B82A7-A026-9F9A-61CC-9EAE08CABEC6}"/>
              </a:ext>
            </a:extLst>
          </p:cNvPr>
          <p:cNvSpPr txBox="1"/>
          <p:nvPr/>
        </p:nvSpPr>
        <p:spPr>
          <a:xfrm>
            <a:off x="394925" y="1617445"/>
            <a:ext cx="6094070" cy="400110"/>
          </a:xfrm>
          <a:prstGeom prst="rect">
            <a:avLst/>
          </a:prstGeom>
          <a:noFill/>
        </p:spPr>
        <p:txBody>
          <a:bodyPr wrap="square">
            <a:spAutoFit/>
          </a:bodyPr>
          <a:lstStyle/>
          <a:p>
            <a:r>
              <a:rPr lang="en-GB" sz="2000" b="1">
                <a:solidFill>
                  <a:srgbClr val="145275"/>
                </a:solidFill>
                <a:latin typeface="Poppins" panose="00000500000000000000" pitchFamily="2" charset="0"/>
                <a:cs typeface="Poppins" panose="00000500000000000000" pitchFamily="2" charset="0"/>
              </a:rPr>
              <a:t>Check – In Days     --- Mandatory</a:t>
            </a:r>
            <a:endParaRPr lang="en-US" sz="2000" b="1"/>
          </a:p>
        </p:txBody>
      </p:sp>
      <p:sp>
        <p:nvSpPr>
          <p:cNvPr id="36" name="TextBox 35">
            <a:extLst>
              <a:ext uri="{FF2B5EF4-FFF2-40B4-BE49-F238E27FC236}">
                <a16:creationId xmlns:a16="http://schemas.microsoft.com/office/drawing/2014/main" id="{422F2AFB-5C21-F69B-1021-C938C9A89FE3}"/>
              </a:ext>
            </a:extLst>
          </p:cNvPr>
          <p:cNvSpPr txBox="1"/>
          <p:nvPr/>
        </p:nvSpPr>
        <p:spPr>
          <a:xfrm>
            <a:off x="394925" y="4162253"/>
            <a:ext cx="6094070" cy="400110"/>
          </a:xfrm>
          <a:prstGeom prst="rect">
            <a:avLst/>
          </a:prstGeom>
          <a:noFill/>
        </p:spPr>
        <p:txBody>
          <a:bodyPr wrap="square" lIns="91440" tIns="45720" rIns="91440" bIns="45720" anchor="t">
            <a:spAutoFit/>
          </a:bodyPr>
          <a:lstStyle/>
          <a:p>
            <a:r>
              <a:rPr lang="en-GB" sz="2000" b="1">
                <a:solidFill>
                  <a:srgbClr val="145275"/>
                </a:solidFill>
                <a:latin typeface="Poppins"/>
                <a:cs typeface="Poppins"/>
              </a:rPr>
              <a:t>Lab sessions           --- Mandatory</a:t>
            </a:r>
            <a:endParaRPr lang="en-US" sz="2000" b="1">
              <a:latin typeface="Poppins"/>
              <a:cs typeface="Poppins"/>
            </a:endParaRPr>
          </a:p>
        </p:txBody>
      </p:sp>
      <p:sp>
        <p:nvSpPr>
          <p:cNvPr id="37" name="TextBox 36">
            <a:extLst>
              <a:ext uri="{FF2B5EF4-FFF2-40B4-BE49-F238E27FC236}">
                <a16:creationId xmlns:a16="http://schemas.microsoft.com/office/drawing/2014/main" id="{41772D3A-AE7E-DB54-48EF-DBAF70CA98B6}"/>
              </a:ext>
            </a:extLst>
          </p:cNvPr>
          <p:cNvSpPr txBox="1"/>
          <p:nvPr/>
        </p:nvSpPr>
        <p:spPr>
          <a:xfrm>
            <a:off x="683429" y="4547203"/>
            <a:ext cx="6094070" cy="400110"/>
          </a:xfrm>
          <a:prstGeom prst="rect">
            <a:avLst/>
          </a:prstGeom>
          <a:noFill/>
        </p:spPr>
        <p:txBody>
          <a:bodyPr wrap="square">
            <a:spAutoFit/>
          </a:bodyPr>
          <a:lstStyle/>
          <a:p>
            <a:pPr marL="285750" indent="-285750">
              <a:buFont typeface="Arial" panose="020B0604020202020204" pitchFamily="34" charset="0"/>
              <a:buChar char="•"/>
            </a:pPr>
            <a:r>
              <a:rPr lang="en-GB" sz="2000">
                <a:solidFill>
                  <a:srgbClr val="145275"/>
                </a:solidFill>
                <a:latin typeface="Poppins" panose="00000500000000000000" pitchFamily="2" charset="0"/>
                <a:cs typeface="Poppins" panose="00000500000000000000" pitchFamily="2" charset="0"/>
              </a:rPr>
              <a:t>Fridays</a:t>
            </a:r>
            <a:endParaRPr lang="en-GB" sz="2000" b="0">
              <a:solidFill>
                <a:srgbClr val="145275"/>
              </a:solidFill>
              <a:latin typeface="Poppins" panose="00000500000000000000" pitchFamily="2" charset="0"/>
              <a:cs typeface="Poppins" panose="00000500000000000000" pitchFamily="2" charset="0"/>
            </a:endParaRPr>
          </a:p>
        </p:txBody>
      </p:sp>
      <p:sp>
        <p:nvSpPr>
          <p:cNvPr id="2" name="TextBox 1">
            <a:extLst>
              <a:ext uri="{FF2B5EF4-FFF2-40B4-BE49-F238E27FC236}">
                <a16:creationId xmlns:a16="http://schemas.microsoft.com/office/drawing/2014/main" id="{23382F63-614F-0960-EEF2-FB0DF03601F9}"/>
              </a:ext>
            </a:extLst>
          </p:cNvPr>
          <p:cNvSpPr txBox="1"/>
          <p:nvPr/>
        </p:nvSpPr>
        <p:spPr>
          <a:xfrm>
            <a:off x="60189" y="3030547"/>
            <a:ext cx="6094070" cy="400110"/>
          </a:xfrm>
          <a:prstGeom prst="rect">
            <a:avLst/>
          </a:prstGeom>
          <a:noFill/>
        </p:spPr>
        <p:txBody>
          <a:bodyPr wrap="square" lIns="91440" tIns="45720" rIns="91440" bIns="45720" anchor="t">
            <a:spAutoFit/>
          </a:bodyPr>
          <a:lstStyle/>
          <a:p>
            <a:r>
              <a:rPr lang="en-GB" sz="2000" b="1">
                <a:solidFill>
                  <a:srgbClr val="145275"/>
                </a:solidFill>
                <a:latin typeface="Poppins"/>
                <a:cs typeface="Poppins"/>
              </a:rPr>
              <a:t>     Tutorials                        ---  Mandatory </a:t>
            </a:r>
            <a:endParaRPr lang="en-US" sz="2000" b="1"/>
          </a:p>
        </p:txBody>
      </p:sp>
      <p:sp>
        <p:nvSpPr>
          <p:cNvPr id="6" name="TextBox 5">
            <a:extLst>
              <a:ext uri="{FF2B5EF4-FFF2-40B4-BE49-F238E27FC236}">
                <a16:creationId xmlns:a16="http://schemas.microsoft.com/office/drawing/2014/main" id="{DDE123FD-7E9B-77FD-5CAB-2F2362BBC42B}"/>
              </a:ext>
            </a:extLst>
          </p:cNvPr>
          <p:cNvSpPr txBox="1"/>
          <p:nvPr/>
        </p:nvSpPr>
        <p:spPr>
          <a:xfrm>
            <a:off x="560408" y="3531701"/>
            <a:ext cx="6094070" cy="400110"/>
          </a:xfrm>
          <a:prstGeom prst="rect">
            <a:avLst/>
          </a:prstGeom>
          <a:noFill/>
        </p:spPr>
        <p:txBody>
          <a:bodyPr wrap="square">
            <a:spAutoFit/>
          </a:bodyPr>
          <a:lstStyle/>
          <a:p>
            <a:pPr marL="285750" indent="-285750">
              <a:buFont typeface="Arial" panose="020B0604020202020204" pitchFamily="34" charset="0"/>
              <a:buChar char="•"/>
            </a:pPr>
            <a:r>
              <a:rPr lang="en-GB" sz="2000">
                <a:solidFill>
                  <a:srgbClr val="145275"/>
                </a:solidFill>
                <a:latin typeface="Poppins" panose="00000500000000000000" pitchFamily="2" charset="0"/>
                <a:cs typeface="Poppins" panose="00000500000000000000" pitchFamily="2" charset="0"/>
              </a:rPr>
              <a:t>Wednesdays</a:t>
            </a:r>
            <a:endParaRPr lang="en-US" sz="2000"/>
          </a:p>
        </p:txBody>
      </p:sp>
    </p:spTree>
    <p:extLst>
      <p:ext uri="{BB962C8B-B14F-4D97-AF65-F5344CB8AC3E}">
        <p14:creationId xmlns:p14="http://schemas.microsoft.com/office/powerpoint/2010/main" val="6779635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03</TotalTime>
  <Words>295</Words>
  <Application>Microsoft Office PowerPoint</Application>
  <PresentationFormat>Widescreen</PresentationFormat>
  <Paragraphs>43</Paragraphs>
  <Slides>6</Slides>
  <Notes>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5" baseType="lpstr">
      <vt:lpstr>Arial</vt:lpstr>
      <vt:lpstr>Calibri</vt:lpstr>
      <vt:lpstr>Calibri Light</vt:lpstr>
      <vt:lpstr>Oswald</vt:lpstr>
      <vt:lpstr>Poppins</vt:lpstr>
      <vt:lpstr>Symbol</vt:lpstr>
      <vt:lpstr>Ubuntu Light</vt:lpstr>
      <vt:lpstr>Office Theme</vt:lpstr>
      <vt:lpstr>think-cell Slide</vt:lpstr>
      <vt:lpstr>Cloud Engineering  Program</vt:lpstr>
      <vt:lpstr>In this Tutorial Session</vt:lpstr>
      <vt:lpstr>Setting up System Directories for Incognito Wrap Inc.</vt:lpstr>
      <vt:lpstr>.</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Engineering  Program</dc:title>
  <dc:creator>Promise Chukwu</dc:creator>
  <cp:lastModifiedBy>Promise Chukwu</cp:lastModifiedBy>
  <cp:revision>3</cp:revision>
  <dcterms:created xsi:type="dcterms:W3CDTF">2024-02-01T22:36:28Z</dcterms:created>
  <dcterms:modified xsi:type="dcterms:W3CDTF">2024-02-02T11:59:46Z</dcterms:modified>
</cp:coreProperties>
</file>